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56"/>
  </p:notesMasterIdLst>
  <p:sldIdLst>
    <p:sldId id="450" r:id="rId5"/>
    <p:sldId id="480" r:id="rId6"/>
    <p:sldId id="481" r:id="rId7"/>
    <p:sldId id="482" r:id="rId8"/>
    <p:sldId id="483" r:id="rId9"/>
    <p:sldId id="485" r:id="rId10"/>
    <p:sldId id="471" r:id="rId11"/>
    <p:sldId id="443" r:id="rId12"/>
    <p:sldId id="449" r:id="rId13"/>
    <p:sldId id="459" r:id="rId14"/>
    <p:sldId id="462" r:id="rId15"/>
    <p:sldId id="463" r:id="rId16"/>
    <p:sldId id="465" r:id="rId17"/>
    <p:sldId id="296" r:id="rId18"/>
    <p:sldId id="340" r:id="rId19"/>
    <p:sldId id="418" r:id="rId20"/>
    <p:sldId id="341" r:id="rId21"/>
    <p:sldId id="334" r:id="rId22"/>
    <p:sldId id="434" r:id="rId23"/>
    <p:sldId id="432" r:id="rId24"/>
    <p:sldId id="472" r:id="rId25"/>
    <p:sldId id="473" r:id="rId26"/>
    <p:sldId id="475" r:id="rId27"/>
    <p:sldId id="476" r:id="rId28"/>
    <p:sldId id="478" r:id="rId29"/>
    <p:sldId id="479" r:id="rId30"/>
    <p:sldId id="455" r:id="rId31"/>
    <p:sldId id="421" r:id="rId32"/>
    <p:sldId id="423" r:id="rId33"/>
    <p:sldId id="424" r:id="rId34"/>
    <p:sldId id="335" r:id="rId35"/>
    <p:sldId id="425" r:id="rId36"/>
    <p:sldId id="344" r:id="rId37"/>
    <p:sldId id="345" r:id="rId38"/>
    <p:sldId id="381" r:id="rId39"/>
    <p:sldId id="386" r:id="rId40"/>
    <p:sldId id="385" r:id="rId41"/>
    <p:sldId id="382" r:id="rId42"/>
    <p:sldId id="470" r:id="rId43"/>
    <p:sldId id="486" r:id="rId44"/>
    <p:sldId id="467" r:id="rId45"/>
    <p:sldId id="468" r:id="rId46"/>
    <p:sldId id="456" r:id="rId47"/>
    <p:sldId id="461" r:id="rId48"/>
    <p:sldId id="393" r:id="rId49"/>
    <p:sldId id="395" r:id="rId50"/>
    <p:sldId id="397" r:id="rId51"/>
    <p:sldId id="402" r:id="rId52"/>
    <p:sldId id="400" r:id="rId53"/>
    <p:sldId id="406" r:id="rId54"/>
    <p:sldId id="474" r:id="rId55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0021"/>
    <a:srgbClr val="FFCC66"/>
    <a:srgbClr val="99FFCC"/>
    <a:srgbClr val="F5B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72" autoAdjust="0"/>
    <p:restoredTop sz="94640" autoAdjust="0"/>
  </p:normalViewPr>
  <p:slideViewPr>
    <p:cSldViewPr>
      <p:cViewPr varScale="1">
        <p:scale>
          <a:sx n="53" d="100"/>
          <a:sy n="53" d="100"/>
        </p:scale>
        <p:origin x="1339" y="43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C3873-47A9-4F1F-ACB8-8EE979CCAA48}" type="datetimeFigureOut">
              <a:rPr lang="cs-CZ" smtClean="0"/>
              <a:t>04.05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D9584-5534-4F13-8BEF-F50DA6AAB83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326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2822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1C23A3-BCD3-437D-80FC-D8D05ECB146F}" type="slidenum">
              <a:rPr lang="cs-CZ" smtClean="0">
                <a:ea typeface="ＭＳ Ｐゴシック" pitchFamily="34" charset="-128"/>
              </a:rPr>
              <a:pPr/>
              <a:t>49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26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378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FB92C-B613-4F89-9382-8D92F44F869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690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57762" cy="3717925"/>
          </a:xfrm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>
                <a:ea typeface="ＭＳ Ｐゴシック" pitchFamily="34" charset="-128"/>
              </a:rPr>
              <a:t>The</a:t>
            </a:r>
            <a:r>
              <a:rPr lang="en-US" altLang="en-US" baseline="0" dirty="0">
                <a:ea typeface="ＭＳ Ｐゴシック" pitchFamily="34" charset="-128"/>
              </a:rPr>
              <a:t> CLINITEK Novus automated urine chemistry analyzer utilizes a reagent cassette, which is composed of 450 test sets inside. </a:t>
            </a:r>
            <a:r>
              <a:rPr lang="en-US" altLang="en-US" dirty="0">
                <a:ea typeface="ＭＳ Ｐゴシック" pitchFamily="34" charset="-128"/>
              </a:rPr>
              <a:t>As a daily procedure, loading the reagent is also very easy</a:t>
            </a:r>
            <a:r>
              <a:rPr lang="en-US" altLang="en-US" baseline="0" dirty="0">
                <a:ea typeface="ＭＳ Ｐゴシック" pitchFamily="34" charset="-128"/>
              </a:rPr>
              <a:t> – take less than a minute.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 cassette is RFID integrated, so the urine chemistry analyzer reads the cassette information (expiration date, lot #, etc.) from the RFID and incorporates into the system automatically, which saves the operator a lot of effort and prevents manual errors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re are no individual strips inside the cassette – instead we use reagent cards. This design greatly improves the sample dispense accuracy and reduces strip jams, which means higher reliability and less downtime for the end user.</a:t>
            </a:r>
            <a:endParaRPr lang="en-US" altLang="en-US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9057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59350" cy="3719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solidFill>
                  <a:prstClr val="black"/>
                </a:solidFill>
                <a:latin typeface="Arial" pitchFamily="34" charset="0"/>
              </a:rPr>
              <a:pPr/>
              <a:t>42</a:t>
            </a:fld>
            <a:endParaRPr lang="de-DE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546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45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5533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4D7C295-1600-439B-AC82-F9FAC29885CE}" type="slidenum">
              <a:rPr lang="cs-CZ" smtClean="0">
                <a:ea typeface="ＭＳ Ｐゴシック" pitchFamily="34" charset="-128"/>
              </a:rPr>
              <a:pPr/>
              <a:t>46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92740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FC909B-AC40-47F7-A51A-0AB56758AFC0}" type="slidenum">
              <a:rPr lang="cs-CZ" smtClean="0"/>
              <a:pPr/>
              <a:t>47</a:t>
            </a:fld>
            <a:endParaRPr lang="cs-CZ" smtClean="0"/>
          </a:p>
        </p:txBody>
      </p:sp>
      <p:sp>
        <p:nvSpPr>
          <p:cNvPr id="65539" name="Rectangle 7"/>
          <p:cNvSpPr txBox="1">
            <a:spLocks noGrp="1" noChangeArrowheads="1"/>
          </p:cNvSpPr>
          <p:nvPr/>
        </p:nvSpPr>
        <p:spPr bwMode="auto">
          <a:xfrm>
            <a:off x="3885453" y="8686362"/>
            <a:ext cx="2972547" cy="45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7" rIns="91415" bIns="45707" anchor="b"/>
          <a:lstStyle/>
          <a:p>
            <a:pPr algn="r" defTabSz="912688"/>
            <a:fld id="{2D402106-A69A-4C87-9AE8-6646609E1B3B}" type="slidenum">
              <a:rPr lang="cs-CZ" sz="1100"/>
              <a:pPr algn="r" defTabSz="912688"/>
              <a:t>47</a:t>
            </a:fld>
            <a:endParaRPr lang="cs-CZ" sz="1100" dirty="0"/>
          </a:p>
        </p:txBody>
      </p:sp>
      <p:sp>
        <p:nvSpPr>
          <p:cNvPr id="65540" name="Text Box 2"/>
          <p:cNvSpPr txBox="1">
            <a:spLocks noChangeArrowheads="1"/>
          </p:cNvSpPr>
          <p:nvPr/>
        </p:nvSpPr>
        <p:spPr bwMode="auto">
          <a:xfrm>
            <a:off x="2146128" y="694501"/>
            <a:ext cx="2570550" cy="343009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lIns="91415" tIns="45707" rIns="91415" bIns="45707" anchor="ctr"/>
          <a:lstStyle/>
          <a:p>
            <a:pPr algn="ctr" defTabSz="912688">
              <a:spcBef>
                <a:spcPts val="706"/>
              </a:spcBef>
              <a:buClr>
                <a:srgbClr val="0000CC"/>
              </a:buClr>
            </a:pPr>
            <a:endParaRPr lang="cs-CZ" sz="1600" b="1" dirty="0">
              <a:solidFill>
                <a:srgbClr val="0000CC"/>
              </a:solidFill>
            </a:endParaRPr>
          </a:p>
        </p:txBody>
      </p:sp>
      <p:sp>
        <p:nvSpPr>
          <p:cNvPr id="65541" name="Rectangle 3"/>
          <p:cNvSpPr>
            <a:spLocks noGrp="1" noChangeArrowheads="1"/>
          </p:cNvSpPr>
          <p:nvPr>
            <p:ph type="body"/>
          </p:nvPr>
        </p:nvSpPr>
        <p:spPr>
          <a:xfrm>
            <a:off x="685481" y="4342450"/>
            <a:ext cx="5483837" cy="4115824"/>
          </a:xfrm>
          <a:noFill/>
          <a:ln/>
        </p:spPr>
        <p:txBody>
          <a:bodyPr wrap="none" anchor="ctr"/>
          <a:lstStyle/>
          <a:p>
            <a:endParaRPr lang="cs-CZ" smtClean="0"/>
          </a:p>
        </p:txBody>
      </p:sp>
    </p:spTree>
    <p:extLst>
      <p:ext uri="{BB962C8B-B14F-4D97-AF65-F5344CB8AC3E}">
        <p14:creationId xmlns:p14="http://schemas.microsoft.com/office/powerpoint/2010/main" val="26974037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48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9983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E0D82AD-6552-42B4-8739-959612F8337E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DD7DCB-0009-418D-B55C-03596D65C50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2F18C0-74B9-408C-9005-5D58825AED9F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D6993-3310-4EA1-9633-51DE6060869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3859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16"/>
            <a:ext cx="6881416" cy="461558"/>
          </a:xfrm>
        </p:spPr>
        <p:txBody>
          <a:bodyPr/>
          <a:lstStyle>
            <a:lvl1pPr>
              <a:defRPr sz="2999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78964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-2738" y="32"/>
            <a:ext cx="9146738" cy="6308725"/>
          </a:xfrm>
          <a:prstGeom prst="rect">
            <a:avLst/>
          </a:prstGeom>
          <a:solidFill>
            <a:srgbClr val="FAD9C0"/>
          </a:solidFill>
          <a:ln>
            <a:noFill/>
          </a:ln>
          <a:ex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 err="1"/>
          </a:p>
        </p:txBody>
      </p:sp>
      <p:sp>
        <p:nvSpPr>
          <p:cNvPr id="5" name="Freeform 11"/>
          <p:cNvSpPr>
            <a:spLocks/>
          </p:cNvSpPr>
          <p:nvPr userDrawn="1"/>
        </p:nvSpPr>
        <p:spPr bwMode="auto">
          <a:xfrm>
            <a:off x="-2739" y="47"/>
            <a:ext cx="9146739" cy="1606039"/>
          </a:xfrm>
          <a:custGeom>
            <a:avLst/>
            <a:gdLst>
              <a:gd name="T0" fmla="*/ 2 w 7684"/>
              <a:gd name="T1" fmla="*/ 964 h 964"/>
              <a:gd name="T2" fmla="*/ 2 w 7684"/>
              <a:gd name="T3" fmla="*/ 964 h 964"/>
              <a:gd name="T4" fmla="*/ 112 w 7684"/>
              <a:gd name="T5" fmla="*/ 954 h 964"/>
              <a:gd name="T6" fmla="*/ 394 w 7684"/>
              <a:gd name="T7" fmla="*/ 932 h 964"/>
              <a:gd name="T8" fmla="*/ 812 w 7684"/>
              <a:gd name="T9" fmla="*/ 896 h 964"/>
              <a:gd name="T10" fmla="*/ 1340 w 7684"/>
              <a:gd name="T11" fmla="*/ 854 h 964"/>
              <a:gd name="T12" fmla="*/ 1948 w 7684"/>
              <a:gd name="T13" fmla="*/ 808 h 964"/>
              <a:gd name="T14" fmla="*/ 2272 w 7684"/>
              <a:gd name="T15" fmla="*/ 784 h 964"/>
              <a:gd name="T16" fmla="*/ 2604 w 7684"/>
              <a:gd name="T17" fmla="*/ 762 h 964"/>
              <a:gd name="T18" fmla="*/ 2942 w 7684"/>
              <a:gd name="T19" fmla="*/ 740 h 964"/>
              <a:gd name="T20" fmla="*/ 3282 w 7684"/>
              <a:gd name="T21" fmla="*/ 720 h 964"/>
              <a:gd name="T22" fmla="*/ 3618 w 7684"/>
              <a:gd name="T23" fmla="*/ 702 h 964"/>
              <a:gd name="T24" fmla="*/ 3950 w 7684"/>
              <a:gd name="T25" fmla="*/ 686 h 964"/>
              <a:gd name="T26" fmla="*/ 3950 w 7684"/>
              <a:gd name="T27" fmla="*/ 686 h 964"/>
              <a:gd name="T28" fmla="*/ 4292 w 7684"/>
              <a:gd name="T29" fmla="*/ 672 h 964"/>
              <a:gd name="T30" fmla="*/ 4634 w 7684"/>
              <a:gd name="T31" fmla="*/ 660 h 964"/>
              <a:gd name="T32" fmla="*/ 5304 w 7684"/>
              <a:gd name="T33" fmla="*/ 638 h 964"/>
              <a:gd name="T34" fmla="*/ 5934 w 7684"/>
              <a:gd name="T35" fmla="*/ 620 h 964"/>
              <a:gd name="T36" fmla="*/ 6502 w 7684"/>
              <a:gd name="T37" fmla="*/ 606 h 964"/>
              <a:gd name="T38" fmla="*/ 6984 w 7684"/>
              <a:gd name="T39" fmla="*/ 598 h 964"/>
              <a:gd name="T40" fmla="*/ 7358 w 7684"/>
              <a:gd name="T41" fmla="*/ 590 h 964"/>
              <a:gd name="T42" fmla="*/ 7684 w 7684"/>
              <a:gd name="T43" fmla="*/ 586 h 964"/>
              <a:gd name="T44" fmla="*/ 7684 w 7684"/>
              <a:gd name="T45" fmla="*/ 0 h 964"/>
              <a:gd name="T46" fmla="*/ 0 w 7684"/>
              <a:gd name="T47" fmla="*/ 0 h 964"/>
              <a:gd name="T48" fmla="*/ 2 w 7684"/>
              <a:gd name="T49" fmla="*/ 964 h 964"/>
              <a:gd name="T50" fmla="*/ 2 w 7684"/>
              <a:gd name="T51" fmla="*/ 964 h 964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3 w 10000"/>
              <a:gd name="connsiteY2" fmla="*/ 9668 h 10000"/>
              <a:gd name="connsiteX3" fmla="*/ 1057 w 10000"/>
              <a:gd name="connsiteY3" fmla="*/ 9295 h 10000"/>
              <a:gd name="connsiteX4" fmla="*/ 1744 w 10000"/>
              <a:gd name="connsiteY4" fmla="*/ 8859 h 10000"/>
              <a:gd name="connsiteX5" fmla="*/ 2535 w 10000"/>
              <a:gd name="connsiteY5" fmla="*/ 8382 h 10000"/>
              <a:gd name="connsiteX6" fmla="*/ 2957 w 10000"/>
              <a:gd name="connsiteY6" fmla="*/ 8133 h 10000"/>
              <a:gd name="connsiteX7" fmla="*/ 3389 w 10000"/>
              <a:gd name="connsiteY7" fmla="*/ 7905 h 10000"/>
              <a:gd name="connsiteX8" fmla="*/ 3829 w 10000"/>
              <a:gd name="connsiteY8" fmla="*/ 7676 h 10000"/>
              <a:gd name="connsiteX9" fmla="*/ 4271 w 10000"/>
              <a:gd name="connsiteY9" fmla="*/ 7469 h 10000"/>
              <a:gd name="connsiteX10" fmla="*/ 4708 w 10000"/>
              <a:gd name="connsiteY10" fmla="*/ 7282 h 10000"/>
              <a:gd name="connsiteX11" fmla="*/ 5141 w 10000"/>
              <a:gd name="connsiteY11" fmla="*/ 7116 h 10000"/>
              <a:gd name="connsiteX12" fmla="*/ 5141 w 10000"/>
              <a:gd name="connsiteY12" fmla="*/ 7116 h 10000"/>
              <a:gd name="connsiteX13" fmla="*/ 5586 w 10000"/>
              <a:gd name="connsiteY13" fmla="*/ 6971 h 10000"/>
              <a:gd name="connsiteX14" fmla="*/ 6031 w 10000"/>
              <a:gd name="connsiteY14" fmla="*/ 6846 h 10000"/>
              <a:gd name="connsiteX15" fmla="*/ 6903 w 10000"/>
              <a:gd name="connsiteY15" fmla="*/ 6618 h 10000"/>
              <a:gd name="connsiteX16" fmla="*/ 7723 w 10000"/>
              <a:gd name="connsiteY16" fmla="*/ 6432 h 10000"/>
              <a:gd name="connsiteX17" fmla="*/ 8462 w 10000"/>
              <a:gd name="connsiteY17" fmla="*/ 6286 h 10000"/>
              <a:gd name="connsiteX18" fmla="*/ 9089 w 10000"/>
              <a:gd name="connsiteY18" fmla="*/ 6203 h 10000"/>
              <a:gd name="connsiteX19" fmla="*/ 9576 w 10000"/>
              <a:gd name="connsiteY19" fmla="*/ 6120 h 10000"/>
              <a:gd name="connsiteX20" fmla="*/ 10000 w 10000"/>
              <a:gd name="connsiteY20" fmla="*/ 6079 h 10000"/>
              <a:gd name="connsiteX21" fmla="*/ 10000 w 10000"/>
              <a:gd name="connsiteY21" fmla="*/ 0 h 10000"/>
              <a:gd name="connsiteX22" fmla="*/ 0 w 10000"/>
              <a:gd name="connsiteY22" fmla="*/ 0 h 10000"/>
              <a:gd name="connsiteX23" fmla="*/ 3 w 10000"/>
              <a:gd name="connsiteY23" fmla="*/ 10000 h 10000"/>
              <a:gd name="connsiteX24" fmla="*/ 3 w 10000"/>
              <a:gd name="connsiteY2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057 w 10000"/>
              <a:gd name="connsiteY2" fmla="*/ 9295 h 10000"/>
              <a:gd name="connsiteX3" fmla="*/ 1744 w 10000"/>
              <a:gd name="connsiteY3" fmla="*/ 8859 h 10000"/>
              <a:gd name="connsiteX4" fmla="*/ 2535 w 10000"/>
              <a:gd name="connsiteY4" fmla="*/ 8382 h 10000"/>
              <a:gd name="connsiteX5" fmla="*/ 2957 w 10000"/>
              <a:gd name="connsiteY5" fmla="*/ 8133 h 10000"/>
              <a:gd name="connsiteX6" fmla="*/ 3389 w 10000"/>
              <a:gd name="connsiteY6" fmla="*/ 7905 h 10000"/>
              <a:gd name="connsiteX7" fmla="*/ 3829 w 10000"/>
              <a:gd name="connsiteY7" fmla="*/ 7676 h 10000"/>
              <a:gd name="connsiteX8" fmla="*/ 4271 w 10000"/>
              <a:gd name="connsiteY8" fmla="*/ 7469 h 10000"/>
              <a:gd name="connsiteX9" fmla="*/ 4708 w 10000"/>
              <a:gd name="connsiteY9" fmla="*/ 7282 h 10000"/>
              <a:gd name="connsiteX10" fmla="*/ 5141 w 10000"/>
              <a:gd name="connsiteY10" fmla="*/ 7116 h 10000"/>
              <a:gd name="connsiteX11" fmla="*/ 5141 w 10000"/>
              <a:gd name="connsiteY11" fmla="*/ 7116 h 10000"/>
              <a:gd name="connsiteX12" fmla="*/ 5586 w 10000"/>
              <a:gd name="connsiteY12" fmla="*/ 6971 h 10000"/>
              <a:gd name="connsiteX13" fmla="*/ 6031 w 10000"/>
              <a:gd name="connsiteY13" fmla="*/ 6846 h 10000"/>
              <a:gd name="connsiteX14" fmla="*/ 6903 w 10000"/>
              <a:gd name="connsiteY14" fmla="*/ 6618 h 10000"/>
              <a:gd name="connsiteX15" fmla="*/ 7723 w 10000"/>
              <a:gd name="connsiteY15" fmla="*/ 6432 h 10000"/>
              <a:gd name="connsiteX16" fmla="*/ 8462 w 10000"/>
              <a:gd name="connsiteY16" fmla="*/ 6286 h 10000"/>
              <a:gd name="connsiteX17" fmla="*/ 9089 w 10000"/>
              <a:gd name="connsiteY17" fmla="*/ 6203 h 10000"/>
              <a:gd name="connsiteX18" fmla="*/ 9576 w 10000"/>
              <a:gd name="connsiteY18" fmla="*/ 6120 h 10000"/>
              <a:gd name="connsiteX19" fmla="*/ 10000 w 10000"/>
              <a:gd name="connsiteY19" fmla="*/ 6079 h 10000"/>
              <a:gd name="connsiteX20" fmla="*/ 10000 w 10000"/>
              <a:gd name="connsiteY20" fmla="*/ 0 h 10000"/>
              <a:gd name="connsiteX21" fmla="*/ 0 w 10000"/>
              <a:gd name="connsiteY21" fmla="*/ 0 h 10000"/>
              <a:gd name="connsiteX22" fmla="*/ 3 w 10000"/>
              <a:gd name="connsiteY22" fmla="*/ 10000 h 10000"/>
              <a:gd name="connsiteX23" fmla="*/ 3 w 10000"/>
              <a:gd name="connsiteY2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744 w 10000"/>
              <a:gd name="connsiteY2" fmla="*/ 8859 h 10000"/>
              <a:gd name="connsiteX3" fmla="*/ 2535 w 10000"/>
              <a:gd name="connsiteY3" fmla="*/ 8382 h 10000"/>
              <a:gd name="connsiteX4" fmla="*/ 2957 w 10000"/>
              <a:gd name="connsiteY4" fmla="*/ 8133 h 10000"/>
              <a:gd name="connsiteX5" fmla="*/ 3389 w 10000"/>
              <a:gd name="connsiteY5" fmla="*/ 7905 h 10000"/>
              <a:gd name="connsiteX6" fmla="*/ 3829 w 10000"/>
              <a:gd name="connsiteY6" fmla="*/ 7676 h 10000"/>
              <a:gd name="connsiteX7" fmla="*/ 4271 w 10000"/>
              <a:gd name="connsiteY7" fmla="*/ 7469 h 10000"/>
              <a:gd name="connsiteX8" fmla="*/ 4708 w 10000"/>
              <a:gd name="connsiteY8" fmla="*/ 7282 h 10000"/>
              <a:gd name="connsiteX9" fmla="*/ 5141 w 10000"/>
              <a:gd name="connsiteY9" fmla="*/ 7116 h 10000"/>
              <a:gd name="connsiteX10" fmla="*/ 5141 w 10000"/>
              <a:gd name="connsiteY10" fmla="*/ 7116 h 10000"/>
              <a:gd name="connsiteX11" fmla="*/ 5586 w 10000"/>
              <a:gd name="connsiteY11" fmla="*/ 6971 h 10000"/>
              <a:gd name="connsiteX12" fmla="*/ 6031 w 10000"/>
              <a:gd name="connsiteY12" fmla="*/ 6846 h 10000"/>
              <a:gd name="connsiteX13" fmla="*/ 6903 w 10000"/>
              <a:gd name="connsiteY13" fmla="*/ 6618 h 10000"/>
              <a:gd name="connsiteX14" fmla="*/ 7723 w 10000"/>
              <a:gd name="connsiteY14" fmla="*/ 6432 h 10000"/>
              <a:gd name="connsiteX15" fmla="*/ 8462 w 10000"/>
              <a:gd name="connsiteY15" fmla="*/ 6286 h 10000"/>
              <a:gd name="connsiteX16" fmla="*/ 9089 w 10000"/>
              <a:gd name="connsiteY16" fmla="*/ 6203 h 10000"/>
              <a:gd name="connsiteX17" fmla="*/ 9576 w 10000"/>
              <a:gd name="connsiteY17" fmla="*/ 6120 h 10000"/>
              <a:gd name="connsiteX18" fmla="*/ 10000 w 10000"/>
              <a:gd name="connsiteY18" fmla="*/ 6079 h 10000"/>
              <a:gd name="connsiteX19" fmla="*/ 10000 w 10000"/>
              <a:gd name="connsiteY19" fmla="*/ 0 h 10000"/>
              <a:gd name="connsiteX20" fmla="*/ 0 w 10000"/>
              <a:gd name="connsiteY20" fmla="*/ 0 h 10000"/>
              <a:gd name="connsiteX21" fmla="*/ 3 w 10000"/>
              <a:gd name="connsiteY21" fmla="*/ 10000 h 10000"/>
              <a:gd name="connsiteX22" fmla="*/ 3 w 10000"/>
              <a:gd name="connsiteY2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535 w 10000"/>
              <a:gd name="connsiteY2" fmla="*/ 8382 h 10000"/>
              <a:gd name="connsiteX3" fmla="*/ 2957 w 10000"/>
              <a:gd name="connsiteY3" fmla="*/ 8133 h 10000"/>
              <a:gd name="connsiteX4" fmla="*/ 3389 w 10000"/>
              <a:gd name="connsiteY4" fmla="*/ 7905 h 10000"/>
              <a:gd name="connsiteX5" fmla="*/ 3829 w 10000"/>
              <a:gd name="connsiteY5" fmla="*/ 7676 h 10000"/>
              <a:gd name="connsiteX6" fmla="*/ 4271 w 10000"/>
              <a:gd name="connsiteY6" fmla="*/ 7469 h 10000"/>
              <a:gd name="connsiteX7" fmla="*/ 4708 w 10000"/>
              <a:gd name="connsiteY7" fmla="*/ 7282 h 10000"/>
              <a:gd name="connsiteX8" fmla="*/ 5141 w 10000"/>
              <a:gd name="connsiteY8" fmla="*/ 7116 h 10000"/>
              <a:gd name="connsiteX9" fmla="*/ 5141 w 10000"/>
              <a:gd name="connsiteY9" fmla="*/ 7116 h 10000"/>
              <a:gd name="connsiteX10" fmla="*/ 5586 w 10000"/>
              <a:gd name="connsiteY10" fmla="*/ 6971 h 10000"/>
              <a:gd name="connsiteX11" fmla="*/ 6031 w 10000"/>
              <a:gd name="connsiteY11" fmla="*/ 6846 h 10000"/>
              <a:gd name="connsiteX12" fmla="*/ 6903 w 10000"/>
              <a:gd name="connsiteY12" fmla="*/ 6618 h 10000"/>
              <a:gd name="connsiteX13" fmla="*/ 7723 w 10000"/>
              <a:gd name="connsiteY13" fmla="*/ 6432 h 10000"/>
              <a:gd name="connsiteX14" fmla="*/ 8462 w 10000"/>
              <a:gd name="connsiteY14" fmla="*/ 6286 h 10000"/>
              <a:gd name="connsiteX15" fmla="*/ 9089 w 10000"/>
              <a:gd name="connsiteY15" fmla="*/ 6203 h 10000"/>
              <a:gd name="connsiteX16" fmla="*/ 9576 w 10000"/>
              <a:gd name="connsiteY16" fmla="*/ 6120 h 10000"/>
              <a:gd name="connsiteX17" fmla="*/ 10000 w 10000"/>
              <a:gd name="connsiteY17" fmla="*/ 6079 h 10000"/>
              <a:gd name="connsiteX18" fmla="*/ 10000 w 10000"/>
              <a:gd name="connsiteY18" fmla="*/ 0 h 10000"/>
              <a:gd name="connsiteX19" fmla="*/ 0 w 10000"/>
              <a:gd name="connsiteY19" fmla="*/ 0 h 10000"/>
              <a:gd name="connsiteX20" fmla="*/ 3 w 10000"/>
              <a:gd name="connsiteY20" fmla="*/ 10000 h 10000"/>
              <a:gd name="connsiteX21" fmla="*/ 3 w 10000"/>
              <a:gd name="connsiteY2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957 w 10000"/>
              <a:gd name="connsiteY2" fmla="*/ 8133 h 10000"/>
              <a:gd name="connsiteX3" fmla="*/ 3389 w 10000"/>
              <a:gd name="connsiteY3" fmla="*/ 7905 h 10000"/>
              <a:gd name="connsiteX4" fmla="*/ 3829 w 10000"/>
              <a:gd name="connsiteY4" fmla="*/ 7676 h 10000"/>
              <a:gd name="connsiteX5" fmla="*/ 4271 w 10000"/>
              <a:gd name="connsiteY5" fmla="*/ 7469 h 10000"/>
              <a:gd name="connsiteX6" fmla="*/ 4708 w 10000"/>
              <a:gd name="connsiteY6" fmla="*/ 7282 h 10000"/>
              <a:gd name="connsiteX7" fmla="*/ 5141 w 10000"/>
              <a:gd name="connsiteY7" fmla="*/ 7116 h 10000"/>
              <a:gd name="connsiteX8" fmla="*/ 5141 w 10000"/>
              <a:gd name="connsiteY8" fmla="*/ 7116 h 10000"/>
              <a:gd name="connsiteX9" fmla="*/ 5586 w 10000"/>
              <a:gd name="connsiteY9" fmla="*/ 6971 h 10000"/>
              <a:gd name="connsiteX10" fmla="*/ 6031 w 10000"/>
              <a:gd name="connsiteY10" fmla="*/ 6846 h 10000"/>
              <a:gd name="connsiteX11" fmla="*/ 6903 w 10000"/>
              <a:gd name="connsiteY11" fmla="*/ 6618 h 10000"/>
              <a:gd name="connsiteX12" fmla="*/ 7723 w 10000"/>
              <a:gd name="connsiteY12" fmla="*/ 6432 h 10000"/>
              <a:gd name="connsiteX13" fmla="*/ 8462 w 10000"/>
              <a:gd name="connsiteY13" fmla="*/ 6286 h 10000"/>
              <a:gd name="connsiteX14" fmla="*/ 9089 w 10000"/>
              <a:gd name="connsiteY14" fmla="*/ 6203 h 10000"/>
              <a:gd name="connsiteX15" fmla="*/ 9576 w 10000"/>
              <a:gd name="connsiteY15" fmla="*/ 6120 h 10000"/>
              <a:gd name="connsiteX16" fmla="*/ 10000 w 10000"/>
              <a:gd name="connsiteY16" fmla="*/ 6079 h 10000"/>
              <a:gd name="connsiteX17" fmla="*/ 10000 w 10000"/>
              <a:gd name="connsiteY17" fmla="*/ 0 h 10000"/>
              <a:gd name="connsiteX18" fmla="*/ 0 w 10000"/>
              <a:gd name="connsiteY18" fmla="*/ 0 h 10000"/>
              <a:gd name="connsiteX19" fmla="*/ 3 w 10000"/>
              <a:gd name="connsiteY19" fmla="*/ 10000 h 10000"/>
              <a:gd name="connsiteX20" fmla="*/ 3 w 10000"/>
              <a:gd name="connsiteY2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389 w 10000"/>
              <a:gd name="connsiteY2" fmla="*/ 7905 h 10000"/>
              <a:gd name="connsiteX3" fmla="*/ 3829 w 10000"/>
              <a:gd name="connsiteY3" fmla="*/ 7676 h 10000"/>
              <a:gd name="connsiteX4" fmla="*/ 4271 w 10000"/>
              <a:gd name="connsiteY4" fmla="*/ 7469 h 10000"/>
              <a:gd name="connsiteX5" fmla="*/ 4708 w 10000"/>
              <a:gd name="connsiteY5" fmla="*/ 7282 h 10000"/>
              <a:gd name="connsiteX6" fmla="*/ 5141 w 10000"/>
              <a:gd name="connsiteY6" fmla="*/ 7116 h 10000"/>
              <a:gd name="connsiteX7" fmla="*/ 5141 w 10000"/>
              <a:gd name="connsiteY7" fmla="*/ 7116 h 10000"/>
              <a:gd name="connsiteX8" fmla="*/ 5586 w 10000"/>
              <a:gd name="connsiteY8" fmla="*/ 6971 h 10000"/>
              <a:gd name="connsiteX9" fmla="*/ 6031 w 10000"/>
              <a:gd name="connsiteY9" fmla="*/ 6846 h 10000"/>
              <a:gd name="connsiteX10" fmla="*/ 6903 w 10000"/>
              <a:gd name="connsiteY10" fmla="*/ 6618 h 10000"/>
              <a:gd name="connsiteX11" fmla="*/ 7723 w 10000"/>
              <a:gd name="connsiteY11" fmla="*/ 6432 h 10000"/>
              <a:gd name="connsiteX12" fmla="*/ 8462 w 10000"/>
              <a:gd name="connsiteY12" fmla="*/ 6286 h 10000"/>
              <a:gd name="connsiteX13" fmla="*/ 9089 w 10000"/>
              <a:gd name="connsiteY13" fmla="*/ 6203 h 10000"/>
              <a:gd name="connsiteX14" fmla="*/ 9576 w 10000"/>
              <a:gd name="connsiteY14" fmla="*/ 6120 h 10000"/>
              <a:gd name="connsiteX15" fmla="*/ 10000 w 10000"/>
              <a:gd name="connsiteY15" fmla="*/ 6079 h 10000"/>
              <a:gd name="connsiteX16" fmla="*/ 10000 w 10000"/>
              <a:gd name="connsiteY16" fmla="*/ 0 h 10000"/>
              <a:gd name="connsiteX17" fmla="*/ 0 w 10000"/>
              <a:gd name="connsiteY17" fmla="*/ 0 h 10000"/>
              <a:gd name="connsiteX18" fmla="*/ 3 w 10000"/>
              <a:gd name="connsiteY18" fmla="*/ 10000 h 10000"/>
              <a:gd name="connsiteX19" fmla="*/ 3 w 10000"/>
              <a:gd name="connsiteY1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829 w 10000"/>
              <a:gd name="connsiteY2" fmla="*/ 7676 h 10000"/>
              <a:gd name="connsiteX3" fmla="*/ 4271 w 10000"/>
              <a:gd name="connsiteY3" fmla="*/ 7469 h 10000"/>
              <a:gd name="connsiteX4" fmla="*/ 4708 w 10000"/>
              <a:gd name="connsiteY4" fmla="*/ 7282 h 10000"/>
              <a:gd name="connsiteX5" fmla="*/ 5141 w 10000"/>
              <a:gd name="connsiteY5" fmla="*/ 7116 h 10000"/>
              <a:gd name="connsiteX6" fmla="*/ 5141 w 10000"/>
              <a:gd name="connsiteY6" fmla="*/ 7116 h 10000"/>
              <a:gd name="connsiteX7" fmla="*/ 5586 w 10000"/>
              <a:gd name="connsiteY7" fmla="*/ 6971 h 10000"/>
              <a:gd name="connsiteX8" fmla="*/ 6031 w 10000"/>
              <a:gd name="connsiteY8" fmla="*/ 6846 h 10000"/>
              <a:gd name="connsiteX9" fmla="*/ 6903 w 10000"/>
              <a:gd name="connsiteY9" fmla="*/ 6618 h 10000"/>
              <a:gd name="connsiteX10" fmla="*/ 7723 w 10000"/>
              <a:gd name="connsiteY10" fmla="*/ 6432 h 10000"/>
              <a:gd name="connsiteX11" fmla="*/ 8462 w 10000"/>
              <a:gd name="connsiteY11" fmla="*/ 6286 h 10000"/>
              <a:gd name="connsiteX12" fmla="*/ 9089 w 10000"/>
              <a:gd name="connsiteY12" fmla="*/ 6203 h 10000"/>
              <a:gd name="connsiteX13" fmla="*/ 9576 w 10000"/>
              <a:gd name="connsiteY13" fmla="*/ 6120 h 10000"/>
              <a:gd name="connsiteX14" fmla="*/ 10000 w 10000"/>
              <a:gd name="connsiteY14" fmla="*/ 6079 h 10000"/>
              <a:gd name="connsiteX15" fmla="*/ 10000 w 10000"/>
              <a:gd name="connsiteY15" fmla="*/ 0 h 10000"/>
              <a:gd name="connsiteX16" fmla="*/ 0 w 10000"/>
              <a:gd name="connsiteY16" fmla="*/ 0 h 10000"/>
              <a:gd name="connsiteX17" fmla="*/ 3 w 10000"/>
              <a:gd name="connsiteY17" fmla="*/ 10000 h 10000"/>
              <a:gd name="connsiteX18" fmla="*/ 3 w 10000"/>
              <a:gd name="connsiteY18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271 w 10000"/>
              <a:gd name="connsiteY2" fmla="*/ 7469 h 10000"/>
              <a:gd name="connsiteX3" fmla="*/ 4708 w 10000"/>
              <a:gd name="connsiteY3" fmla="*/ 7282 h 10000"/>
              <a:gd name="connsiteX4" fmla="*/ 5141 w 10000"/>
              <a:gd name="connsiteY4" fmla="*/ 7116 h 10000"/>
              <a:gd name="connsiteX5" fmla="*/ 5141 w 10000"/>
              <a:gd name="connsiteY5" fmla="*/ 7116 h 10000"/>
              <a:gd name="connsiteX6" fmla="*/ 5586 w 10000"/>
              <a:gd name="connsiteY6" fmla="*/ 6971 h 10000"/>
              <a:gd name="connsiteX7" fmla="*/ 6031 w 10000"/>
              <a:gd name="connsiteY7" fmla="*/ 6846 h 10000"/>
              <a:gd name="connsiteX8" fmla="*/ 6903 w 10000"/>
              <a:gd name="connsiteY8" fmla="*/ 6618 h 10000"/>
              <a:gd name="connsiteX9" fmla="*/ 7723 w 10000"/>
              <a:gd name="connsiteY9" fmla="*/ 6432 h 10000"/>
              <a:gd name="connsiteX10" fmla="*/ 8462 w 10000"/>
              <a:gd name="connsiteY10" fmla="*/ 6286 h 10000"/>
              <a:gd name="connsiteX11" fmla="*/ 9089 w 10000"/>
              <a:gd name="connsiteY11" fmla="*/ 6203 h 10000"/>
              <a:gd name="connsiteX12" fmla="*/ 9576 w 10000"/>
              <a:gd name="connsiteY12" fmla="*/ 6120 h 10000"/>
              <a:gd name="connsiteX13" fmla="*/ 10000 w 10000"/>
              <a:gd name="connsiteY13" fmla="*/ 6079 h 10000"/>
              <a:gd name="connsiteX14" fmla="*/ 10000 w 10000"/>
              <a:gd name="connsiteY14" fmla="*/ 0 h 10000"/>
              <a:gd name="connsiteX15" fmla="*/ 0 w 10000"/>
              <a:gd name="connsiteY15" fmla="*/ 0 h 10000"/>
              <a:gd name="connsiteX16" fmla="*/ 3 w 10000"/>
              <a:gd name="connsiteY16" fmla="*/ 10000 h 10000"/>
              <a:gd name="connsiteX17" fmla="*/ 3 w 10000"/>
              <a:gd name="connsiteY17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708 w 10000"/>
              <a:gd name="connsiteY2" fmla="*/ 7282 h 10000"/>
              <a:gd name="connsiteX3" fmla="*/ 5141 w 10000"/>
              <a:gd name="connsiteY3" fmla="*/ 7116 h 10000"/>
              <a:gd name="connsiteX4" fmla="*/ 5141 w 10000"/>
              <a:gd name="connsiteY4" fmla="*/ 7116 h 10000"/>
              <a:gd name="connsiteX5" fmla="*/ 5586 w 10000"/>
              <a:gd name="connsiteY5" fmla="*/ 6971 h 10000"/>
              <a:gd name="connsiteX6" fmla="*/ 6031 w 10000"/>
              <a:gd name="connsiteY6" fmla="*/ 6846 h 10000"/>
              <a:gd name="connsiteX7" fmla="*/ 6903 w 10000"/>
              <a:gd name="connsiteY7" fmla="*/ 6618 h 10000"/>
              <a:gd name="connsiteX8" fmla="*/ 7723 w 10000"/>
              <a:gd name="connsiteY8" fmla="*/ 6432 h 10000"/>
              <a:gd name="connsiteX9" fmla="*/ 8462 w 10000"/>
              <a:gd name="connsiteY9" fmla="*/ 6286 h 10000"/>
              <a:gd name="connsiteX10" fmla="*/ 9089 w 10000"/>
              <a:gd name="connsiteY10" fmla="*/ 6203 h 10000"/>
              <a:gd name="connsiteX11" fmla="*/ 9576 w 10000"/>
              <a:gd name="connsiteY11" fmla="*/ 6120 h 10000"/>
              <a:gd name="connsiteX12" fmla="*/ 10000 w 10000"/>
              <a:gd name="connsiteY12" fmla="*/ 6079 h 10000"/>
              <a:gd name="connsiteX13" fmla="*/ 10000 w 10000"/>
              <a:gd name="connsiteY13" fmla="*/ 0 h 10000"/>
              <a:gd name="connsiteX14" fmla="*/ 0 w 10000"/>
              <a:gd name="connsiteY14" fmla="*/ 0 h 10000"/>
              <a:gd name="connsiteX15" fmla="*/ 3 w 10000"/>
              <a:gd name="connsiteY15" fmla="*/ 10000 h 10000"/>
              <a:gd name="connsiteX16" fmla="*/ 3 w 10000"/>
              <a:gd name="connsiteY16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141 w 10000"/>
              <a:gd name="connsiteY3" fmla="*/ 7116 h 10000"/>
              <a:gd name="connsiteX4" fmla="*/ 5586 w 10000"/>
              <a:gd name="connsiteY4" fmla="*/ 6971 h 10000"/>
              <a:gd name="connsiteX5" fmla="*/ 6031 w 10000"/>
              <a:gd name="connsiteY5" fmla="*/ 6846 h 10000"/>
              <a:gd name="connsiteX6" fmla="*/ 6903 w 10000"/>
              <a:gd name="connsiteY6" fmla="*/ 6618 h 10000"/>
              <a:gd name="connsiteX7" fmla="*/ 7723 w 10000"/>
              <a:gd name="connsiteY7" fmla="*/ 6432 h 10000"/>
              <a:gd name="connsiteX8" fmla="*/ 8462 w 10000"/>
              <a:gd name="connsiteY8" fmla="*/ 6286 h 10000"/>
              <a:gd name="connsiteX9" fmla="*/ 9089 w 10000"/>
              <a:gd name="connsiteY9" fmla="*/ 6203 h 10000"/>
              <a:gd name="connsiteX10" fmla="*/ 9576 w 10000"/>
              <a:gd name="connsiteY10" fmla="*/ 6120 h 10000"/>
              <a:gd name="connsiteX11" fmla="*/ 10000 w 10000"/>
              <a:gd name="connsiteY11" fmla="*/ 6079 h 10000"/>
              <a:gd name="connsiteX12" fmla="*/ 10000 w 10000"/>
              <a:gd name="connsiteY12" fmla="*/ 0 h 10000"/>
              <a:gd name="connsiteX13" fmla="*/ 0 w 10000"/>
              <a:gd name="connsiteY13" fmla="*/ 0 h 10000"/>
              <a:gd name="connsiteX14" fmla="*/ 3 w 10000"/>
              <a:gd name="connsiteY14" fmla="*/ 10000 h 10000"/>
              <a:gd name="connsiteX15" fmla="*/ 3 w 10000"/>
              <a:gd name="connsiteY15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089 w 10000"/>
              <a:gd name="connsiteY8" fmla="*/ 6203 h 10000"/>
              <a:gd name="connsiteX9" fmla="*/ 9576 w 10000"/>
              <a:gd name="connsiteY9" fmla="*/ 6120 h 10000"/>
              <a:gd name="connsiteX10" fmla="*/ 10000 w 10000"/>
              <a:gd name="connsiteY10" fmla="*/ 6079 h 10000"/>
              <a:gd name="connsiteX11" fmla="*/ 10000 w 10000"/>
              <a:gd name="connsiteY11" fmla="*/ 0 h 10000"/>
              <a:gd name="connsiteX12" fmla="*/ 0 w 10000"/>
              <a:gd name="connsiteY12" fmla="*/ 0 h 10000"/>
              <a:gd name="connsiteX13" fmla="*/ 3 w 10000"/>
              <a:gd name="connsiteY13" fmla="*/ 10000 h 10000"/>
              <a:gd name="connsiteX14" fmla="*/ 3 w 10000"/>
              <a:gd name="connsiteY1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576 w 10000"/>
              <a:gd name="connsiteY8" fmla="*/ 6120 h 10000"/>
              <a:gd name="connsiteX9" fmla="*/ 10000 w 10000"/>
              <a:gd name="connsiteY9" fmla="*/ 6079 h 10000"/>
              <a:gd name="connsiteX10" fmla="*/ 10000 w 10000"/>
              <a:gd name="connsiteY10" fmla="*/ 0 h 10000"/>
              <a:gd name="connsiteX11" fmla="*/ 0 w 10000"/>
              <a:gd name="connsiteY11" fmla="*/ 0 h 10000"/>
              <a:gd name="connsiteX12" fmla="*/ 3 w 10000"/>
              <a:gd name="connsiteY12" fmla="*/ 10000 h 10000"/>
              <a:gd name="connsiteX13" fmla="*/ 3 w 10000"/>
              <a:gd name="connsiteY1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9576 w 10000"/>
              <a:gd name="connsiteY7" fmla="*/ 6120 h 10000"/>
              <a:gd name="connsiteX8" fmla="*/ 10000 w 10000"/>
              <a:gd name="connsiteY8" fmla="*/ 6079 h 10000"/>
              <a:gd name="connsiteX9" fmla="*/ 10000 w 10000"/>
              <a:gd name="connsiteY9" fmla="*/ 0 h 10000"/>
              <a:gd name="connsiteX10" fmla="*/ 0 w 10000"/>
              <a:gd name="connsiteY10" fmla="*/ 0 h 10000"/>
              <a:gd name="connsiteX11" fmla="*/ 3 w 10000"/>
              <a:gd name="connsiteY11" fmla="*/ 10000 h 10000"/>
              <a:gd name="connsiteX12" fmla="*/ 3 w 10000"/>
              <a:gd name="connsiteY1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9576 w 10000"/>
              <a:gd name="connsiteY6" fmla="*/ 6120 h 10000"/>
              <a:gd name="connsiteX7" fmla="*/ 10000 w 10000"/>
              <a:gd name="connsiteY7" fmla="*/ 6079 h 10000"/>
              <a:gd name="connsiteX8" fmla="*/ 10000 w 10000"/>
              <a:gd name="connsiteY8" fmla="*/ 0 h 10000"/>
              <a:gd name="connsiteX9" fmla="*/ 0 w 10000"/>
              <a:gd name="connsiteY9" fmla="*/ 0 h 10000"/>
              <a:gd name="connsiteX10" fmla="*/ 3 w 10000"/>
              <a:gd name="connsiteY10" fmla="*/ 10000 h 10000"/>
              <a:gd name="connsiteX11" fmla="*/ 3 w 10000"/>
              <a:gd name="connsiteY1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9576 w 10000"/>
              <a:gd name="connsiteY5" fmla="*/ 6120 h 10000"/>
              <a:gd name="connsiteX6" fmla="*/ 10000 w 10000"/>
              <a:gd name="connsiteY6" fmla="*/ 6079 h 10000"/>
              <a:gd name="connsiteX7" fmla="*/ 10000 w 10000"/>
              <a:gd name="connsiteY7" fmla="*/ 0 h 10000"/>
              <a:gd name="connsiteX8" fmla="*/ 0 w 10000"/>
              <a:gd name="connsiteY8" fmla="*/ 0 h 10000"/>
              <a:gd name="connsiteX9" fmla="*/ 3 w 10000"/>
              <a:gd name="connsiteY9" fmla="*/ 10000 h 10000"/>
              <a:gd name="connsiteX10" fmla="*/ 3 w 10000"/>
              <a:gd name="connsiteY1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32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0" fmla="*/ 489 w 10000"/>
              <a:gd name="connsiteY0" fmla="*/ 10509 h 10509"/>
              <a:gd name="connsiteX1" fmla="*/ 3 w 10000"/>
              <a:gd name="connsiteY1" fmla="*/ 10000 h 10509"/>
              <a:gd name="connsiteX2" fmla="*/ 397 w 10000"/>
              <a:gd name="connsiteY2" fmla="*/ 9646 h 10509"/>
              <a:gd name="connsiteX3" fmla="*/ 5586 w 10000"/>
              <a:gd name="connsiteY3" fmla="*/ 6971 h 10509"/>
              <a:gd name="connsiteX4" fmla="*/ 9576 w 10000"/>
              <a:gd name="connsiteY4" fmla="*/ 6120 h 10509"/>
              <a:gd name="connsiteX5" fmla="*/ 10000 w 10000"/>
              <a:gd name="connsiteY5" fmla="*/ 6079 h 10509"/>
              <a:gd name="connsiteX6" fmla="*/ 10000 w 10000"/>
              <a:gd name="connsiteY6" fmla="*/ 0 h 10509"/>
              <a:gd name="connsiteX7" fmla="*/ 0 w 10000"/>
              <a:gd name="connsiteY7" fmla="*/ 0 h 10509"/>
              <a:gd name="connsiteX8" fmla="*/ 489 w 10000"/>
              <a:gd name="connsiteY8" fmla="*/ 10509 h 10509"/>
              <a:gd name="connsiteX0" fmla="*/ 754 w 10754"/>
              <a:gd name="connsiteY0" fmla="*/ 0 h 10000"/>
              <a:gd name="connsiteX1" fmla="*/ 757 w 10754"/>
              <a:gd name="connsiteY1" fmla="*/ 10000 h 10000"/>
              <a:gd name="connsiteX2" fmla="*/ 1151 w 10754"/>
              <a:gd name="connsiteY2" fmla="*/ 9646 h 10000"/>
              <a:gd name="connsiteX3" fmla="*/ 6340 w 10754"/>
              <a:gd name="connsiteY3" fmla="*/ 6971 h 10000"/>
              <a:gd name="connsiteX4" fmla="*/ 10330 w 10754"/>
              <a:gd name="connsiteY4" fmla="*/ 6120 h 10000"/>
              <a:gd name="connsiteX5" fmla="*/ 10754 w 10754"/>
              <a:gd name="connsiteY5" fmla="*/ 6079 h 10000"/>
              <a:gd name="connsiteX6" fmla="*/ 10754 w 10754"/>
              <a:gd name="connsiteY6" fmla="*/ 0 h 10000"/>
              <a:gd name="connsiteX7" fmla="*/ 754 w 10754"/>
              <a:gd name="connsiteY7" fmla="*/ 0 h 10000"/>
              <a:gd name="connsiteX0" fmla="*/ 754 w 10754"/>
              <a:gd name="connsiteY0" fmla="*/ 1019 h 11019"/>
              <a:gd name="connsiteX1" fmla="*/ 757 w 10754"/>
              <a:gd name="connsiteY1" fmla="*/ 11019 h 11019"/>
              <a:gd name="connsiteX2" fmla="*/ 1151 w 10754"/>
              <a:gd name="connsiteY2" fmla="*/ 10665 h 11019"/>
              <a:gd name="connsiteX3" fmla="*/ 6340 w 10754"/>
              <a:gd name="connsiteY3" fmla="*/ 7990 h 11019"/>
              <a:gd name="connsiteX4" fmla="*/ 10330 w 10754"/>
              <a:gd name="connsiteY4" fmla="*/ 7139 h 11019"/>
              <a:gd name="connsiteX5" fmla="*/ 10754 w 10754"/>
              <a:gd name="connsiteY5" fmla="*/ 7098 h 11019"/>
              <a:gd name="connsiteX6" fmla="*/ 10754 w 10754"/>
              <a:gd name="connsiteY6" fmla="*/ 1019 h 11019"/>
              <a:gd name="connsiteX7" fmla="*/ 754 w 10754"/>
              <a:gd name="connsiteY7" fmla="*/ 1019 h 11019"/>
              <a:gd name="connsiteX0" fmla="*/ 754 w 10754"/>
              <a:gd name="connsiteY0" fmla="*/ 451 h 10451"/>
              <a:gd name="connsiteX1" fmla="*/ 757 w 10754"/>
              <a:gd name="connsiteY1" fmla="*/ 10451 h 10451"/>
              <a:gd name="connsiteX2" fmla="*/ 1151 w 10754"/>
              <a:gd name="connsiteY2" fmla="*/ 10097 h 10451"/>
              <a:gd name="connsiteX3" fmla="*/ 6340 w 10754"/>
              <a:gd name="connsiteY3" fmla="*/ 7422 h 10451"/>
              <a:gd name="connsiteX4" fmla="*/ 10330 w 10754"/>
              <a:gd name="connsiteY4" fmla="*/ 6571 h 10451"/>
              <a:gd name="connsiteX5" fmla="*/ 10754 w 10754"/>
              <a:gd name="connsiteY5" fmla="*/ 6530 h 10451"/>
              <a:gd name="connsiteX6" fmla="*/ 10754 w 10754"/>
              <a:gd name="connsiteY6" fmla="*/ 451 h 10451"/>
              <a:gd name="connsiteX7" fmla="*/ 754 w 10754"/>
              <a:gd name="connsiteY7" fmla="*/ 451 h 10451"/>
              <a:gd name="connsiteX0" fmla="*/ 28 w 10028"/>
              <a:gd name="connsiteY0" fmla="*/ 451 h 10451"/>
              <a:gd name="connsiteX1" fmla="*/ 31 w 10028"/>
              <a:gd name="connsiteY1" fmla="*/ 10451 h 10451"/>
              <a:gd name="connsiteX2" fmla="*/ 425 w 10028"/>
              <a:gd name="connsiteY2" fmla="*/ 10097 h 10451"/>
              <a:gd name="connsiteX3" fmla="*/ 5614 w 10028"/>
              <a:gd name="connsiteY3" fmla="*/ 7422 h 10451"/>
              <a:gd name="connsiteX4" fmla="*/ 9604 w 10028"/>
              <a:gd name="connsiteY4" fmla="*/ 6571 h 10451"/>
              <a:gd name="connsiteX5" fmla="*/ 10028 w 10028"/>
              <a:gd name="connsiteY5" fmla="*/ 6530 h 10451"/>
              <a:gd name="connsiteX6" fmla="*/ 10028 w 10028"/>
              <a:gd name="connsiteY6" fmla="*/ 451 h 10451"/>
              <a:gd name="connsiteX7" fmla="*/ 28 w 10028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935 w 10001"/>
              <a:gd name="connsiteY2" fmla="*/ 9758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8 w 10008"/>
              <a:gd name="connsiteY0" fmla="*/ 451 h 9846"/>
              <a:gd name="connsiteX1" fmla="*/ 1 w 10008"/>
              <a:gd name="connsiteY1" fmla="*/ 9846 h 9846"/>
              <a:gd name="connsiteX2" fmla="*/ 942 w 10008"/>
              <a:gd name="connsiteY2" fmla="*/ 9758 h 9846"/>
              <a:gd name="connsiteX3" fmla="*/ 5594 w 10008"/>
              <a:gd name="connsiteY3" fmla="*/ 7422 h 9846"/>
              <a:gd name="connsiteX4" fmla="*/ 9584 w 10008"/>
              <a:gd name="connsiteY4" fmla="*/ 6571 h 9846"/>
              <a:gd name="connsiteX5" fmla="*/ 10008 w 10008"/>
              <a:gd name="connsiteY5" fmla="*/ 6530 h 9846"/>
              <a:gd name="connsiteX6" fmla="*/ 10008 w 10008"/>
              <a:gd name="connsiteY6" fmla="*/ 451 h 9846"/>
              <a:gd name="connsiteX7" fmla="*/ 8 w 10008"/>
              <a:gd name="connsiteY7" fmla="*/ 451 h 9846"/>
              <a:gd name="connsiteX0" fmla="*/ 7 w 9999"/>
              <a:gd name="connsiteY0" fmla="*/ 458 h 10000"/>
              <a:gd name="connsiteX1" fmla="*/ 0 w 9999"/>
              <a:gd name="connsiteY1" fmla="*/ 10000 h 10000"/>
              <a:gd name="connsiteX2" fmla="*/ 940 w 9999"/>
              <a:gd name="connsiteY2" fmla="*/ 9911 h 10000"/>
              <a:gd name="connsiteX3" fmla="*/ 5589 w 9999"/>
              <a:gd name="connsiteY3" fmla="*/ 7538 h 10000"/>
              <a:gd name="connsiteX4" fmla="*/ 9575 w 9999"/>
              <a:gd name="connsiteY4" fmla="*/ 6674 h 10000"/>
              <a:gd name="connsiteX5" fmla="*/ 9999 w 9999"/>
              <a:gd name="connsiteY5" fmla="*/ 6632 h 10000"/>
              <a:gd name="connsiteX6" fmla="*/ 9999 w 9999"/>
              <a:gd name="connsiteY6" fmla="*/ 458 h 10000"/>
              <a:gd name="connsiteX7" fmla="*/ 7 w 9999"/>
              <a:gd name="connsiteY7" fmla="*/ 458 h 10000"/>
              <a:gd name="connsiteX0" fmla="*/ 1 w 9994"/>
              <a:gd name="connsiteY0" fmla="*/ 458 h 10049"/>
              <a:gd name="connsiteX1" fmla="*/ 1 w 9994"/>
              <a:gd name="connsiteY1" fmla="*/ 10049 h 10049"/>
              <a:gd name="connsiteX2" fmla="*/ 934 w 9994"/>
              <a:gd name="connsiteY2" fmla="*/ 9911 h 10049"/>
              <a:gd name="connsiteX3" fmla="*/ 5584 w 9994"/>
              <a:gd name="connsiteY3" fmla="*/ 7538 h 10049"/>
              <a:gd name="connsiteX4" fmla="*/ 9570 w 9994"/>
              <a:gd name="connsiteY4" fmla="*/ 6674 h 10049"/>
              <a:gd name="connsiteX5" fmla="*/ 9994 w 9994"/>
              <a:gd name="connsiteY5" fmla="*/ 6632 h 10049"/>
              <a:gd name="connsiteX6" fmla="*/ 9994 w 9994"/>
              <a:gd name="connsiteY6" fmla="*/ 458 h 10049"/>
              <a:gd name="connsiteX7" fmla="*/ 1 w 9994"/>
              <a:gd name="connsiteY7" fmla="*/ 458 h 10049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262"/>
              <a:gd name="connsiteX1" fmla="*/ 3 w 10002"/>
              <a:gd name="connsiteY1" fmla="*/ 10000 h 10262"/>
              <a:gd name="connsiteX2" fmla="*/ 5589 w 10002"/>
              <a:gd name="connsiteY2" fmla="*/ 7501 h 10262"/>
              <a:gd name="connsiteX3" fmla="*/ 9578 w 10002"/>
              <a:gd name="connsiteY3" fmla="*/ 6641 h 10262"/>
              <a:gd name="connsiteX4" fmla="*/ 10002 w 10002"/>
              <a:gd name="connsiteY4" fmla="*/ 6600 h 10262"/>
              <a:gd name="connsiteX5" fmla="*/ 10002 w 10002"/>
              <a:gd name="connsiteY5" fmla="*/ 456 h 10262"/>
              <a:gd name="connsiteX6" fmla="*/ 3 w 10002"/>
              <a:gd name="connsiteY6" fmla="*/ 456 h 10262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6600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305"/>
              <a:gd name="connsiteX1" fmla="*/ 3 w 10002"/>
              <a:gd name="connsiteY1" fmla="*/ 10000 h 10305"/>
              <a:gd name="connsiteX2" fmla="*/ 10002 w 10002"/>
              <a:gd name="connsiteY2" fmla="*/ 7267 h 10305"/>
              <a:gd name="connsiteX3" fmla="*/ 10002 w 10002"/>
              <a:gd name="connsiteY3" fmla="*/ 456 h 10305"/>
              <a:gd name="connsiteX4" fmla="*/ 3 w 10002"/>
              <a:gd name="connsiteY4" fmla="*/ 456 h 10305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0 h 9544"/>
              <a:gd name="connsiteX1" fmla="*/ 3 w 10002"/>
              <a:gd name="connsiteY1" fmla="*/ 9544 h 9544"/>
              <a:gd name="connsiteX2" fmla="*/ 10002 w 10002"/>
              <a:gd name="connsiteY2" fmla="*/ 6811 h 9544"/>
              <a:gd name="connsiteX3" fmla="*/ 10002 w 10002"/>
              <a:gd name="connsiteY3" fmla="*/ 0 h 9544"/>
              <a:gd name="connsiteX4" fmla="*/ 3 w 10002"/>
              <a:gd name="connsiteY4" fmla="*/ 0 h 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9544">
                <a:moveTo>
                  <a:pt x="3" y="0"/>
                </a:moveTo>
                <a:cubicBezTo>
                  <a:pt x="2" y="9811"/>
                  <a:pt x="-5" y="6304"/>
                  <a:pt x="3" y="9544"/>
                </a:cubicBezTo>
                <a:cubicBezTo>
                  <a:pt x="3479" y="7296"/>
                  <a:pt x="7884" y="6761"/>
                  <a:pt x="10002" y="6811"/>
                </a:cubicBezTo>
                <a:lnTo>
                  <a:pt x="10002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191" y="340610"/>
            <a:ext cx="1225162" cy="38332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00"/>
            <a:ext cx="6881416" cy="900000"/>
          </a:xfrm>
        </p:spPr>
        <p:txBody>
          <a:bodyPr/>
          <a:lstStyle>
            <a:lvl1pPr>
              <a:defRPr sz="3198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cdtContent Placeholder 9 Id10"/>
          <p:cNvSpPr>
            <a:spLocks noGrp="1"/>
          </p:cNvSpPr>
          <p:nvPr>
            <p:ph idx="1" hasCustomPrompt="1"/>
          </p:nvPr>
        </p:nvSpPr>
        <p:spPr>
          <a:xfrm>
            <a:off x="361762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6" name="cdtContent Placeholder 9 Id10"/>
          <p:cNvSpPr>
            <a:spLocks noGrp="1"/>
          </p:cNvSpPr>
          <p:nvPr>
            <p:ph idx="11" hasCustomPrompt="1"/>
          </p:nvPr>
        </p:nvSpPr>
        <p:spPr>
          <a:xfrm>
            <a:off x="6057449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7" name="cdtContent Placeholder 9 Id10"/>
          <p:cNvSpPr>
            <a:spLocks noGrp="1"/>
          </p:cNvSpPr>
          <p:nvPr>
            <p:ph idx="12" hasCustomPrompt="1"/>
          </p:nvPr>
        </p:nvSpPr>
        <p:spPr>
          <a:xfrm>
            <a:off x="3207235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06623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17AC29-532E-4D3E-9D22-682C288C8B10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2897EC9-1F1F-49F8-9275-9E306C87BF92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D5E434-F2AC-466B-92B3-2A2304387974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6D5158-C69F-405C-A7AB-C30C145516BD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064CB-785D-4A8C-A35E-8418DC639B6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D21F5A-8E3D-4BB0-92E1-AF106006544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931659-8E8C-47DA-9CC7-2933432CCD7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smtClean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A4E118-CD3B-4442-9097-18E9074516D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C04B5AAE-0456-4F9B-BFA9-8B90E4C9C76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6" r:id="rId13"/>
    <p:sldLayoutId id="2147483677" r:id="rId14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sa=i&amp;rct=j&amp;q=&amp;esrc=s&amp;source=images&amp;cd=&amp;cad=rja&amp;uact=8&amp;ved=0CAcQjRxqFQoTCPuu-6OO6MgCFYrUGgodUfsNxg&amp;url=http://apkfun.co/iris-iq-200.html&amp;psig=AFQjCNHzlG4MSzf19JKU8Aye-IOzUhmBUA&amp;ust=1446222886647640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1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1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hyperlink" Target="https://www.google.cz/url?sa=i&amp;rct=j&amp;q=&amp;esrc=s&amp;source=images&amp;cd=&amp;ved=0CAcQjRxqFQoTCJqx2b2P6MgCFciGGgod1BAIyQ&amp;url=https://www.mojemedicina.cz/pro-lekare/praxe/laboratorni-medicina/cobas-6500-automaticka-mocova-linka/&amp;bvm=bv.106130839,d.d2s&amp;psig=AFQjCNFemvN0chah4JnEDiKm34zpcdIjNQ&amp;ust=1446223056488070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34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www.google.com/url?sa=i&amp;source=images&amp;cd=&amp;cad=rja&amp;uact=8&amp;ved=2ahUKEwiGxaDHzq_bAhXUhKYKHQOHBKkQjRx6BAgBEAU&amp;url=https://www.healthcare.siemens.com/urinalysis/systems/atellica-1500-automated-urinalysis-system&amp;psig=AOvVaw2RhPGyIMDSsc_sn9p2IKZ_&amp;ust=1527844532746572" TargetMode="Externa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2.png"/><Relationship Id="rId4" Type="http://schemas.openxmlformats.org/officeDocument/2006/relationships/image" Target="../media/image41.jpe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7" Type="http://schemas.openxmlformats.org/officeDocument/2006/relationships/image" Target="../media/image4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2675383"/>
          </a:xfrm>
        </p:spPr>
        <p:txBody>
          <a:bodyPr/>
          <a:lstStyle/>
          <a:p>
            <a:r>
              <a:rPr lang="cs-CZ" sz="5400" dirty="0" smtClean="0"/>
              <a:t>Současné možnosti automatizace močové analýzy</a:t>
            </a:r>
            <a:endParaRPr lang="cs-CZ" sz="540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572344"/>
          </a:xfrm>
        </p:spPr>
        <p:txBody>
          <a:bodyPr>
            <a:normAutofit/>
          </a:bodyPr>
          <a:lstStyle/>
          <a:p>
            <a:pPr algn="just"/>
            <a:r>
              <a:rPr lang="cs-CZ" sz="2000" b="1" dirty="0" smtClean="0">
                <a:solidFill>
                  <a:schemeClr val="tx2"/>
                </a:solidFill>
              </a:rPr>
              <a:t>                                           Miroslava Beňovská</a:t>
            </a:r>
          </a:p>
          <a:p>
            <a:pPr algn="just"/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               </a:t>
            </a:r>
            <a:endParaRPr lang="cs-CZ" sz="1800" b="1" i="1" dirty="0">
              <a:solidFill>
                <a:schemeClr val="tx1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62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cs-CZ" sz="3600" b="1" dirty="0" smtClean="0"/>
              <a:t>UF-5000/4000</a:t>
            </a:r>
            <a:r>
              <a:rPr lang="cs-CZ" sz="3600" b="1" dirty="0"/>
              <a:t> </a:t>
            </a:r>
            <a:r>
              <a:rPr lang="cs-CZ" sz="3600" b="1" dirty="0" smtClean="0"/>
              <a:t>- </a:t>
            </a:r>
            <a:r>
              <a:rPr lang="cs-CZ" sz="3600" b="1" dirty="0" err="1" smtClean="0"/>
              <a:t>scattergram</a:t>
            </a:r>
            <a:endParaRPr lang="cs-CZ" sz="3600" dirty="0"/>
          </a:p>
        </p:txBody>
      </p:sp>
      <p:pic>
        <p:nvPicPr>
          <p:cNvPr id="1026" name="Picture 2" descr="C:\Users\27232\AppData\Local\Microsoft\Windows\Temporary Internet Files\Content.Outlook\YXZ4HDAN\Dr Ben UF50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831707"/>
            <a:ext cx="7974659" cy="599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1560" y="752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7" y="7759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98613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r>
              <a:rPr lang="cs-CZ" sz="3600" b="1" dirty="0" smtClean="0"/>
              <a:t>UD-10, </a:t>
            </a:r>
            <a:r>
              <a:rPr lang="cs-CZ" sz="3600" b="1" dirty="0" err="1"/>
              <a:t>Sysmex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772815"/>
            <a:ext cx="8435280" cy="4353347"/>
          </a:xfrm>
        </p:spPr>
        <p:txBody>
          <a:bodyPr>
            <a:normAutofit lnSpcReduction="10000"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Přístroj k digitálnímu zobrazení močových elementů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etoda skenování polí pomocí CCD kamer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Využívá </a:t>
            </a:r>
            <a:r>
              <a:rPr lang="cs-CZ" sz="2000" b="1" dirty="0" smtClean="0">
                <a:solidFill>
                  <a:schemeClr val="tx2"/>
                </a:solidFill>
              </a:rPr>
              <a:t>přirozenou sedimentaci účinkem gravit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oužívá se </a:t>
            </a:r>
            <a:r>
              <a:rPr lang="cs-CZ" sz="2000" b="1" dirty="0" smtClean="0">
                <a:solidFill>
                  <a:schemeClr val="tx2"/>
                </a:solidFill>
              </a:rPr>
              <a:t>vždy v kombinaci s UF-5000/4000 </a:t>
            </a:r>
            <a:r>
              <a:rPr lang="cs-CZ" sz="2000" b="1" dirty="0" smtClean="0">
                <a:solidFill>
                  <a:schemeClr val="tx1"/>
                </a:solidFill>
              </a:rPr>
              <a:t>pro kompletní analýzu elementů v moči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Uživatelsky nastavitelná </a:t>
            </a:r>
            <a:r>
              <a:rPr lang="cs-CZ" sz="2000" b="1" dirty="0" smtClean="0">
                <a:solidFill>
                  <a:schemeClr val="tx2"/>
                </a:solidFill>
              </a:rPr>
              <a:t>pravidla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výběru vzorku k analýze na UD-10</a:t>
            </a:r>
            <a:r>
              <a:rPr lang="cs-CZ" sz="2000" b="1" dirty="0" smtClean="0">
                <a:solidFill>
                  <a:schemeClr val="tx1"/>
                </a:solidFill>
              </a:rPr>
              <a:t> (potvrzení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typu válce, krystalu, renální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e</a:t>
            </a:r>
            <a:r>
              <a:rPr lang="cs-CZ" sz="2000" b="1" dirty="0" smtClean="0">
                <a:solidFill>
                  <a:schemeClr val="tx1"/>
                </a:solidFill>
              </a:rPr>
              <a:t>)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>
                <a:solidFill>
                  <a:schemeClr val="tx2"/>
                </a:solidFill>
              </a:rPr>
              <a:t>z</a:t>
            </a:r>
            <a:r>
              <a:rPr lang="cs-CZ" sz="2000" b="1" dirty="0" smtClean="0">
                <a:solidFill>
                  <a:schemeClr val="tx2"/>
                </a:solidFill>
              </a:rPr>
              <a:t>oom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Rutinní mód 50 vzorků/hod.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                     40 polí/vzorek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,6 ml moče (</a:t>
            </a:r>
            <a:r>
              <a:rPr lang="cs-CZ" sz="2000" b="1" dirty="0" err="1" smtClean="0">
                <a:solidFill>
                  <a:schemeClr val="tx1"/>
                </a:solidFill>
              </a:rPr>
              <a:t>statim</a:t>
            </a:r>
            <a:r>
              <a:rPr lang="cs-CZ" sz="2000" b="1" dirty="0" smtClean="0">
                <a:solidFill>
                  <a:schemeClr val="tx1"/>
                </a:solidFill>
              </a:rPr>
              <a:t> 0,6 ml)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2" y="3284984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15471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90137"/>
          </a:xfrm>
        </p:spPr>
        <p:txBody>
          <a:bodyPr/>
          <a:lstStyle/>
          <a:p>
            <a:r>
              <a:rPr lang="cs-CZ" sz="3600" b="1" dirty="0" smtClean="0"/>
              <a:t>UN 3000, </a:t>
            </a:r>
            <a:r>
              <a:rPr lang="cs-CZ" sz="3600" b="1" dirty="0" err="1" smtClean="0"/>
              <a:t>Sysmex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512" y="1600200"/>
            <a:ext cx="8507288" cy="4525963"/>
          </a:xfrm>
        </p:spPr>
        <p:txBody>
          <a:bodyPr/>
          <a:lstStyle/>
          <a:p>
            <a:pPr marL="0" indent="0" fontAlgn="base">
              <a:buNone/>
            </a:pPr>
            <a:r>
              <a:rPr lang="cs-CZ" b="1" dirty="0" smtClean="0">
                <a:solidFill>
                  <a:schemeClr val="tx1"/>
                </a:solidFill>
              </a:rPr>
              <a:t>UN3000-111WS  </a:t>
            </a:r>
            <a:r>
              <a:rPr lang="cs-CZ" b="1" dirty="0" smtClean="0">
                <a:solidFill>
                  <a:schemeClr val="tx2"/>
                </a:solidFill>
              </a:rPr>
              <a:t>Kompletní močová analýza</a:t>
            </a:r>
            <a:endParaRPr lang="cs-CZ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endParaRPr lang="cs-CZ" sz="2000" b="1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loženo z:</a:t>
            </a:r>
          </a:p>
          <a:p>
            <a:pPr fontAlgn="base"/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  <a:endParaRPr lang="cs-CZ" sz="2000" b="1" dirty="0">
              <a:solidFill>
                <a:schemeClr val="tx1"/>
              </a:solidFill>
            </a:endParaRP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F-5000/4000</a:t>
            </a: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D-10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Dráhy pro vstup</a:t>
            </a:r>
          </a:p>
          <a:p>
            <a:pPr marL="0" indent="0" fontAlgn="base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a výstup vzorků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Podstavce s </a:t>
            </a:r>
          </a:p>
          <a:p>
            <a:pPr marL="0" indent="0" fontAlgn="base">
              <a:buNone/>
            </a:pPr>
            <a:r>
              <a:rPr lang="cs-CZ" sz="2000" dirty="0" smtClean="0">
                <a:solidFill>
                  <a:schemeClr val="tx1"/>
                </a:solidFill>
              </a:rPr>
              <a:t>     úložným prostorem</a:t>
            </a: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276872"/>
            <a:ext cx="5640735" cy="3897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" y="357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715" y="3574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252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8025"/>
          </a:xfrm>
        </p:spPr>
        <p:txBody>
          <a:bodyPr/>
          <a:lstStyle/>
          <a:p>
            <a:r>
              <a:rPr lang="cs-CZ" sz="3600" b="1" dirty="0"/>
              <a:t>UN </a:t>
            </a:r>
            <a:r>
              <a:rPr lang="cs-CZ" sz="3600" b="1" dirty="0" smtClean="0"/>
              <a:t>3000</a:t>
            </a:r>
            <a:endParaRPr lang="cs-CZ" sz="3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7" y="708025"/>
            <a:ext cx="8863012" cy="614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4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20807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88640"/>
            <a:ext cx="9078144" cy="32403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smtClean="0"/>
              <a:t>Digitální mikroskopie</a:t>
            </a:r>
            <a:br>
              <a:rPr lang="cs-CZ" altLang="cs-CZ" sz="3600" b="1" dirty="0" smtClean="0"/>
            </a:br>
            <a:r>
              <a:rPr lang="cs-CZ" altLang="cs-CZ" sz="2400" b="1" dirty="0" smtClean="0"/>
              <a:t>nekoncentrované moče </a:t>
            </a:r>
            <a:br>
              <a:rPr lang="cs-CZ" altLang="cs-CZ" sz="2400" b="1" dirty="0" smtClean="0"/>
            </a:br>
            <a:endParaRPr lang="cs-CZ" altLang="cs-CZ" sz="3600" b="1" dirty="0" smtClean="0"/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838" y="44624"/>
            <a:ext cx="8943974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b="1" dirty="0" err="1" smtClean="0"/>
              <a:t>iRICELL</a:t>
            </a:r>
            <a:r>
              <a:rPr lang="cs-CZ" sz="2800" b="1" dirty="0" smtClean="0"/>
              <a:t> 3000plus</a:t>
            </a:r>
            <a:br>
              <a:rPr lang="cs-CZ" sz="2800" b="1" dirty="0" smtClean="0"/>
            </a:br>
            <a:r>
              <a:rPr lang="cs-CZ" sz="2800" b="1" dirty="0" smtClean="0"/>
              <a:t>IQ 200 SPRINT + </a:t>
            </a:r>
            <a:r>
              <a:rPr lang="cs-CZ" sz="2800" b="1" dirty="0" err="1" smtClean="0"/>
              <a:t>ichemVelocity</a:t>
            </a:r>
            <a:r>
              <a:rPr lang="cs-CZ" sz="2800" b="1" dirty="0" smtClean="0"/>
              <a:t>, </a:t>
            </a:r>
            <a:r>
              <a:rPr lang="cs-CZ" sz="2800" b="1" dirty="0" err="1" smtClean="0"/>
              <a:t>Beckman</a:t>
            </a:r>
            <a:endParaRPr lang="en-US" sz="2800" b="1" dirty="0"/>
          </a:p>
        </p:txBody>
      </p:sp>
      <p:pic>
        <p:nvPicPr>
          <p:cNvPr id="4100" name="Picture 4" descr="http://www.axonlab.com/var/em_plain_site/storage/images/media/bilder/axonlab-schweiz/produkte/urindiagnostik/iricell-2000-3000_2/4971-1-ger-CH/iRICELL-2000-3000_2_lightbox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161753"/>
            <a:ext cx="8162925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1043608" y="1340768"/>
            <a:ext cx="7093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latin typeface="+mj-lt"/>
              </a:rPr>
              <a:t>Automatická mikroskopie + chemická analýza moče</a:t>
            </a:r>
          </a:p>
          <a:p>
            <a:r>
              <a:rPr lang="cs-CZ" b="1" dirty="0" smtClean="0">
                <a:latin typeface="+mj-lt"/>
              </a:rPr>
              <a:t>                                                                      100 testů/hod.</a:t>
            </a:r>
            <a:endParaRPr lang="cs-CZ" b="1" dirty="0">
              <a:latin typeface="+mj-lt"/>
            </a:endParaRPr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27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0"/>
            <a:ext cx="8147248" cy="2204864"/>
          </a:xfrm>
        </p:spPr>
        <p:txBody>
          <a:bodyPr/>
          <a:lstStyle/>
          <a:p>
            <a:r>
              <a:rPr lang="cs-CZ" sz="3200" b="1" dirty="0" err="1"/>
              <a:t>iRICELL</a:t>
            </a:r>
            <a:r>
              <a:rPr lang="cs-CZ" sz="3200" b="1" dirty="0"/>
              <a:t> 3000plus =IQ 200 </a:t>
            </a:r>
            <a:r>
              <a:rPr lang="cs-CZ" sz="3200" b="1" dirty="0" smtClean="0"/>
              <a:t>SPRINT</a:t>
            </a:r>
            <a:br>
              <a:rPr lang="cs-CZ" sz="3200" b="1" dirty="0" smtClean="0"/>
            </a:br>
            <a:r>
              <a:rPr lang="cs-CZ" sz="3200" b="1" dirty="0" smtClean="0"/>
              <a:t>+  </a:t>
            </a:r>
            <a:r>
              <a:rPr lang="cs-CZ" sz="3200" b="1" dirty="0" err="1" smtClean="0"/>
              <a:t>ichemVelocity</a:t>
            </a:r>
            <a:r>
              <a:rPr lang="cs-CZ" sz="3200" b="1" dirty="0"/>
              <a:t>, </a:t>
            </a:r>
            <a:r>
              <a:rPr lang="cs-CZ" sz="3200" b="1" dirty="0" err="1" smtClean="0"/>
              <a:t>Beckman</a:t>
            </a:r>
            <a:r>
              <a:rPr lang="cs-CZ" sz="3200" b="1" dirty="0" smtClean="0"/>
              <a:t> </a:t>
            </a:r>
            <a:r>
              <a:rPr lang="cs-CZ" b="1" dirty="0"/>
              <a:t/>
            </a:r>
            <a:br>
              <a:rPr lang="cs-CZ" b="1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3204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IQ </a:t>
            </a:r>
            <a:r>
              <a:rPr lang="cs-CZ" sz="2000" b="1" dirty="0">
                <a:solidFill>
                  <a:schemeClr val="tx1"/>
                </a:solidFill>
              </a:rPr>
              <a:t>200 </a:t>
            </a:r>
            <a:r>
              <a:rPr lang="cs-CZ" sz="2000" b="1" dirty="0" smtClean="0">
                <a:solidFill>
                  <a:schemeClr val="tx1"/>
                </a:solidFill>
              </a:rPr>
              <a:t>SPRINT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00 testů/hod.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2 základních a </a:t>
            </a:r>
            <a:r>
              <a:rPr lang="cs-CZ" sz="2000" dirty="0">
                <a:solidFill>
                  <a:schemeClr val="tx1"/>
                </a:solidFill>
              </a:rPr>
              <a:t>27 předem </a:t>
            </a:r>
            <a:endParaRPr lang="cs-CZ" sz="2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   definovaných podkategorií</a:t>
            </a:r>
            <a:endParaRPr lang="cs-CZ" sz="2000" b="1" dirty="0" smtClean="0"/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r>
              <a:rPr lang="cs-CZ" sz="2000" b="1" dirty="0" err="1" smtClean="0">
                <a:solidFill>
                  <a:schemeClr val="tx1"/>
                </a:solidFill>
              </a:rPr>
              <a:t>ichemVelocity</a:t>
            </a:r>
            <a:r>
              <a:rPr lang="cs-CZ" sz="2000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inim. Objem 2 ml moče</a:t>
            </a:r>
          </a:p>
          <a:p>
            <a:r>
              <a:rPr lang="cs-CZ" sz="2000" dirty="0">
                <a:solidFill>
                  <a:schemeClr val="tx1"/>
                </a:solidFill>
              </a:rPr>
              <a:t>240 vzorků / </a:t>
            </a:r>
            <a:r>
              <a:rPr lang="cs-CZ" sz="2000" dirty="0" smtClean="0">
                <a:solidFill>
                  <a:schemeClr val="tx1"/>
                </a:solidFill>
              </a:rPr>
              <a:t>hodinu</a:t>
            </a:r>
          </a:p>
          <a:p>
            <a:r>
              <a:rPr lang="cs-CZ" sz="2000" dirty="0" smtClean="0">
                <a:solidFill>
                  <a:schemeClr val="tx1"/>
                </a:solidFill>
              </a:rPr>
              <a:t>13 </a:t>
            </a:r>
            <a:r>
              <a:rPr lang="cs-CZ" sz="2000" dirty="0">
                <a:solidFill>
                  <a:schemeClr val="tx1"/>
                </a:solidFill>
              </a:rPr>
              <a:t>metod včetně hustoty, barvy a </a:t>
            </a:r>
            <a:r>
              <a:rPr lang="cs-CZ" sz="2000" dirty="0" smtClean="0">
                <a:solidFill>
                  <a:schemeClr val="tx1"/>
                </a:solidFill>
              </a:rPr>
              <a:t>zákalu (askorbová)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/>
            </a:r>
            <a:br>
              <a:rPr lang="cs-CZ" sz="2000" b="1" dirty="0">
                <a:solidFill>
                  <a:schemeClr val="tx1"/>
                </a:solidFill>
              </a:rPr>
            </a:b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18434" name="Picture 2" descr="C:\Users\Mirka\Documents\Nová složka\stažený soub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276872"/>
            <a:ext cx="3457748" cy="193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Mirka\Documents\Nová složka\UNC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6839"/>
            <a:ext cx="1448002" cy="36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47529" cy="373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6593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1907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75224\Documents\Vzdělávání\E-learning\Mocky\IQ\My Pictures\Granulvalce\granulovane valce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28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404813"/>
            <a:ext cx="8229600" cy="863947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FUS-2000, DIRUI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250824" y="1772816"/>
            <a:ext cx="4393183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řístroj je </a:t>
            </a:r>
            <a:r>
              <a:rPr lang="cs-CZ" b="1" dirty="0">
                <a:solidFill>
                  <a:schemeClr val="tx2"/>
                </a:solidFill>
                <a:latin typeface="+mj-lt"/>
              </a:rPr>
              <a:t>hybridní močový analyzátor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vádí chemickou analýzu i </a:t>
            </a:r>
            <a:r>
              <a:rPr lang="cs-CZ" b="1" dirty="0" smtClean="0">
                <a:latin typeface="+mj-lt"/>
              </a:rPr>
              <a:t>digitální zobrazovací </a:t>
            </a:r>
            <a:r>
              <a:rPr lang="cs-CZ" b="1" dirty="0">
                <a:latin typeface="+mj-lt"/>
              </a:rPr>
              <a:t>vyšetření moče</a:t>
            </a:r>
          </a:p>
          <a:p>
            <a:pPr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 obě metodiky je využit </a:t>
            </a:r>
            <a:endParaRPr lang="cs-CZ" b="1" dirty="0" smtClean="0">
              <a:latin typeface="+mj-lt"/>
            </a:endParaRPr>
          </a:p>
          <a:p>
            <a:pPr>
              <a:defRPr/>
            </a:pPr>
            <a:r>
              <a:rPr lang="cs-CZ" b="1" dirty="0">
                <a:latin typeface="+mj-lt"/>
              </a:rPr>
              <a:t> </a:t>
            </a:r>
            <a:r>
              <a:rPr lang="cs-CZ" b="1" dirty="0" smtClean="0">
                <a:latin typeface="+mj-lt"/>
              </a:rPr>
              <a:t>    jeden </a:t>
            </a:r>
            <a:r>
              <a:rPr lang="cs-CZ" b="1" dirty="0" err="1">
                <a:latin typeface="+mj-lt"/>
              </a:rPr>
              <a:t>pipetor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3021" y="3361327"/>
            <a:ext cx="5429250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63885"/>
          </a:xfrm>
        </p:spPr>
        <p:txBody>
          <a:bodyPr/>
          <a:lstStyle/>
          <a:p>
            <a:r>
              <a:rPr lang="en-US" altLang="cs-CZ" sz="3600" b="1" dirty="0" smtClean="0"/>
              <a:t>FUS-2000</a:t>
            </a:r>
            <a:endParaRPr lang="cs-CZ" altLang="cs-CZ" sz="3600" b="1" dirty="0" smtClean="0"/>
          </a:p>
        </p:txBody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>
          <a:xfrm>
            <a:off x="457200" y="1700808"/>
            <a:ext cx="8229600" cy="4425355"/>
          </a:xfrm>
        </p:spPr>
        <p:txBody>
          <a:bodyPr>
            <a:normAutofit/>
          </a:bodyPr>
          <a:lstStyle/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Výkon</a:t>
            </a:r>
            <a:r>
              <a:rPr lang="en-US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:</a:t>
            </a:r>
            <a:r>
              <a:rPr lang="en-US" altLang="cs-CZ" sz="2000" b="1" dirty="0" smtClean="0">
                <a:ea typeface="宋体" pitchFamily="2" charset="-122"/>
                <a:cs typeface="Arial" charset="0"/>
              </a:rPr>
              <a:t> 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120 tests/hour</a:t>
            </a:r>
          </a:p>
          <a:p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inim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ální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objem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– 3 m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L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Doba analýzy - 100s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Při nedostatku materiálu se provede pouze mikroskop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ožnost zvětšení částic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Speciální mytí po hustých</a:t>
            </a:r>
          </a:p>
          <a:p>
            <a:pPr marL="0" indent="0">
              <a:buNone/>
            </a:pPr>
            <a:r>
              <a:rPr lang="cs-CZ" altLang="cs-CZ" sz="2000" b="1" dirty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  vzorcích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Tichý chod přístroje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Big </a:t>
            </a:r>
            <a:r>
              <a:rPr lang="cs-CZ" altLang="cs-CZ" sz="2000" b="1" dirty="0" err="1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picture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– odpovídá</a:t>
            </a:r>
          </a:p>
          <a:p>
            <a:pPr marL="0" indent="0">
              <a:buNone/>
            </a:pP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   mikroskopickému poli</a:t>
            </a:r>
            <a:endParaRPr lang="en-US" altLang="cs-CZ" sz="2000" b="1" dirty="0" smtClean="0">
              <a:solidFill>
                <a:schemeClr val="tx1"/>
              </a:solidFill>
              <a:ea typeface="宋体" pitchFamily="2" charset="-122"/>
              <a:cs typeface="Arial" charset="0"/>
            </a:endParaRPr>
          </a:p>
        </p:txBody>
      </p:sp>
      <p:pic>
        <p:nvPicPr>
          <p:cNvPr id="6144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378" y="3573016"/>
            <a:ext cx="3062528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163" y="619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18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3600" b="1" dirty="0" smtClean="0"/>
              <a:t>Automatizovaná analýza moče</a:t>
            </a:r>
          </a:p>
        </p:txBody>
      </p:sp>
      <p:sp>
        <p:nvSpPr>
          <p:cNvPr id="55299" name="Zástupný symbol pro obsah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48925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cs-CZ" altLang="cs-CZ" sz="2800" b="1" dirty="0" smtClean="0"/>
              <a:t>Chemická analýza moče</a:t>
            </a:r>
            <a:endParaRPr lang="cs-CZ" altLang="cs-CZ" sz="2800" b="1" dirty="0"/>
          </a:p>
          <a:p>
            <a:pPr marL="0" indent="0">
              <a:spcBef>
                <a:spcPts val="300"/>
              </a:spcBef>
              <a:buNone/>
            </a:pPr>
            <a:r>
              <a:rPr lang="cs-CZ" altLang="cs-CZ" sz="2800" b="1" dirty="0" smtClean="0"/>
              <a:t>   +</a:t>
            </a:r>
          </a:p>
          <a:p>
            <a:pPr>
              <a:spcBef>
                <a:spcPts val="300"/>
              </a:spcBef>
            </a:pPr>
            <a:r>
              <a:rPr lang="cs-CZ" altLang="cs-CZ" sz="2800" b="1" dirty="0" smtClean="0"/>
              <a:t>Automatická morfologická analýza moče</a:t>
            </a: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329681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cs-CZ" altLang="cs-CZ" sz="3600" b="1" dirty="0" err="1" smtClean="0"/>
              <a:t>Uric</a:t>
            </a:r>
            <a:r>
              <a:rPr lang="cs-CZ" altLang="cs-CZ" sz="3600" b="1" dirty="0" smtClean="0"/>
              <a:t> acid</a:t>
            </a:r>
          </a:p>
        </p:txBody>
      </p:sp>
      <p:pic>
        <p:nvPicPr>
          <p:cNvPr id="1026" name="Picture 2" descr="G:\Screenshots\KM masivni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70" r="21753" b="40951"/>
          <a:stretch/>
        </p:blipFill>
        <p:spPr bwMode="auto">
          <a:xfrm>
            <a:off x="1" y="980728"/>
            <a:ext cx="9144000" cy="56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56644"/>
            <a:ext cx="115252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812" y="3918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20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3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DIRUI FUS-3000Plus</a:t>
            </a:r>
          </a:p>
        </p:txBody>
      </p:sp>
      <p:sp>
        <p:nvSpPr>
          <p:cNvPr id="51216" name="Rectangle 16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Integrovaný promývací roztok, vylepšené promýván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endParaRPr lang="cs-CZ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nížení aspirovaného množství vzorku </a:t>
            </a:r>
            <a:r>
              <a:rPr lang="cs-CZ" altLang="cs-CZ" sz="2000" b="1" dirty="0">
                <a:solidFill>
                  <a:schemeClr val="tx1"/>
                </a:solidFill>
              </a:rPr>
              <a:t>pro chemické vyšetření - 0.4ml</a:t>
            </a:r>
          </a:p>
        </p:txBody>
      </p:sp>
      <p:sp>
        <p:nvSpPr>
          <p:cNvPr id="51215" name="Rectangle 15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4 násobné navýšení počtu snímků zorných polí oproti předchozímu model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erytrocytů do 5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bakterií do 2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duktivity vzorku</a:t>
            </a:r>
          </a:p>
        </p:txBody>
      </p:sp>
    </p:spTree>
    <p:extLst>
      <p:ext uri="{BB962C8B-B14F-4D97-AF65-F5344CB8AC3E}">
        <p14:creationId xmlns:p14="http://schemas.microsoft.com/office/powerpoint/2010/main" val="347692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/>
              <a:t>DIRUI FUS-1000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„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r>
              <a:rPr lang="cs-CZ" altLang="cs-CZ" sz="2000" dirty="0">
                <a:solidFill>
                  <a:schemeClr val="tx1"/>
                </a:solidFill>
              </a:rPr>
              <a:t>“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Nejmenší hybridní močový analyzátor na světe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, stejně jako FUS-3000Plus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ychlost 60 </a:t>
            </a:r>
            <a:r>
              <a:rPr lang="cs-CZ" altLang="cs-CZ" sz="2000" dirty="0" err="1">
                <a:solidFill>
                  <a:schemeClr val="tx1"/>
                </a:solidFill>
              </a:rPr>
              <a:t>vz</a:t>
            </a:r>
            <a:r>
              <a:rPr lang="cs-CZ" altLang="cs-CZ" sz="2000" dirty="0">
                <a:solidFill>
                  <a:schemeClr val="tx1"/>
                </a:solidFill>
              </a:rPr>
              <a:t>./hod.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altLang="cs-CZ" sz="2000" dirty="0" err="1">
                <a:solidFill>
                  <a:schemeClr val="tx1"/>
                </a:solidFill>
              </a:rPr>
              <a:t>Oproti</a:t>
            </a:r>
            <a:r>
              <a:rPr lang="en-US" altLang="cs-CZ" sz="2000" dirty="0">
                <a:solidFill>
                  <a:schemeClr val="tx1"/>
                </a:solidFill>
              </a:rPr>
              <a:t> FUS-3000 </a:t>
            </a:r>
            <a:r>
              <a:rPr lang="cs-CZ" altLang="cs-CZ" sz="2000" dirty="0">
                <a:solidFill>
                  <a:schemeClr val="tx1"/>
                </a:solidFill>
              </a:rPr>
              <a:t>postrádá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</a:t>
            </a:r>
            <a:r>
              <a:rPr lang="cs-CZ" altLang="cs-CZ" sz="1000" dirty="0" err="1">
                <a:solidFill>
                  <a:schemeClr val="tx1"/>
                </a:solidFill>
              </a:rPr>
              <a:t>ery</a:t>
            </a:r>
            <a:r>
              <a:rPr lang="cs-CZ" altLang="cs-CZ" sz="1000" dirty="0">
                <a:solidFill>
                  <a:schemeClr val="tx1"/>
                </a:solidFill>
              </a:rPr>
              <a:t> do 5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bakterií do 2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Měření konduktivity vzorku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Vysoká rychlost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Kapacitní podavač stojánků</a:t>
            </a:r>
          </a:p>
          <a:p>
            <a:pPr>
              <a:lnSpc>
                <a:spcPct val="90000"/>
              </a:lnSpc>
            </a:pPr>
            <a:endParaRPr lang="cs-CZ" altLang="cs-CZ" sz="1000" b="1" dirty="0"/>
          </a:p>
          <a:p>
            <a:pPr>
              <a:lnSpc>
                <a:spcPct val="90000"/>
              </a:lnSpc>
            </a:pPr>
            <a:endParaRPr lang="cs-CZ" alt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428945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Simulace zorného pole</a:t>
            </a:r>
          </a:p>
        </p:txBody>
      </p:sp>
      <p:pic>
        <p:nvPicPr>
          <p:cNvPr id="6147" name="Picture 5" descr="Big Picture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94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ERY - </a:t>
            </a:r>
            <a:r>
              <a:rPr lang="cs-CZ" altLang="cs-CZ" dirty="0" err="1" smtClean="0"/>
              <a:t>akantocyty</a:t>
            </a:r>
            <a:endParaRPr lang="cs-CZ" altLang="cs-CZ" dirty="0" smtClean="0"/>
          </a:p>
        </p:txBody>
      </p:sp>
      <p:pic>
        <p:nvPicPr>
          <p:cNvPr id="9219" name="Picture 4" descr="ARBC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148625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Spermie</a:t>
            </a:r>
          </a:p>
        </p:txBody>
      </p:sp>
      <p:pic>
        <p:nvPicPr>
          <p:cNvPr id="26627" name="Picture 4" descr="SPRM (3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31501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err="1" smtClean="0"/>
              <a:t>Tripelfosfáty</a:t>
            </a:r>
            <a:endParaRPr lang="cs-CZ" altLang="cs-CZ" dirty="0" smtClean="0"/>
          </a:p>
        </p:txBody>
      </p:sp>
      <p:pic>
        <p:nvPicPr>
          <p:cNvPr id="32771" name="Picture 4" descr="MAPH (1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4592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</a:t>
            </a:r>
            <a:r>
              <a:rPr lang="cs-CZ" sz="2400" b="1" dirty="0" smtClean="0">
                <a:solidFill>
                  <a:schemeClr val="tx1"/>
                </a:solidFill>
              </a:rPr>
              <a:t>s centrifugací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51" y="7699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4387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520" y="0"/>
            <a:ext cx="8435280" cy="11247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2800" b="1" dirty="0" smtClean="0"/>
              <a:t>LabUMat2 </a:t>
            </a:r>
            <a:r>
              <a:rPr lang="cs-CZ" altLang="cs-CZ" sz="2800" b="1" dirty="0"/>
              <a:t>and </a:t>
            </a:r>
            <a:r>
              <a:rPr lang="cs-CZ" altLang="cs-CZ" sz="2800" b="1" dirty="0" smtClean="0"/>
              <a:t>UriSed3 </a:t>
            </a:r>
            <a:r>
              <a:rPr lang="cs-CZ" altLang="cs-CZ" sz="2800" b="1" dirty="0"/>
              <a:t>, </a:t>
            </a:r>
            <a:r>
              <a:rPr lang="cs-CZ" altLang="cs-CZ" sz="2800" b="1" dirty="0" smtClean="0"/>
              <a:t>77 </a:t>
            </a:r>
            <a:r>
              <a:rPr lang="cs-CZ" altLang="cs-CZ" sz="2800" dirty="0" smtClean="0"/>
              <a:t>Elektronika </a:t>
            </a:r>
            <a:br>
              <a:rPr lang="cs-CZ" altLang="cs-CZ" sz="2800" dirty="0" smtClean="0"/>
            </a:br>
            <a:r>
              <a:rPr lang="cs-CZ" altLang="cs-CZ" sz="2800" dirty="0" smtClean="0"/>
              <a:t>(dodává </a:t>
            </a:r>
            <a:r>
              <a:rPr lang="cs-CZ" altLang="cs-CZ" sz="2800" dirty="0" err="1" smtClean="0"/>
              <a:t>Biovendor</a:t>
            </a:r>
            <a:r>
              <a:rPr lang="cs-CZ" altLang="cs-CZ" sz="2800" dirty="0" smtClean="0"/>
              <a:t>)</a:t>
            </a:r>
            <a:endParaRPr lang="cs-CZ" sz="28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</p:spPr>
        <p:txBody>
          <a:bodyPr/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Kompletní systém na analýzu moče</a:t>
            </a:r>
          </a:p>
        </p:txBody>
      </p:sp>
      <p:pic>
        <p:nvPicPr>
          <p:cNvPr id="20483" name="Picture 3" descr="C:\Users\Mirka\Documents\Nová složka\urised3_pc_labumat2_front_kics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46" y="2564904"/>
            <a:ext cx="9022877" cy="33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188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82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5567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4400" b="1" dirty="0" smtClean="0"/>
              <a:t>LabUMat2, 77 Elektronika</a:t>
            </a:r>
            <a:br>
              <a:rPr lang="cs-CZ" sz="4400" b="1" dirty="0" smtClean="0"/>
            </a:br>
            <a:r>
              <a:rPr lang="cs-CZ" sz="3200" b="1" dirty="0" smtClean="0"/>
              <a:t>dodává </a:t>
            </a:r>
            <a:r>
              <a:rPr lang="cs-CZ" sz="3200" b="1" dirty="0" err="1" smtClean="0"/>
              <a:t>Biovendor</a:t>
            </a:r>
            <a:endParaRPr lang="cs-CZ" sz="32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Chemická analýza moče pomocí diagnostických prouž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en-US" sz="2000" b="1" dirty="0" smtClean="0">
                <a:solidFill>
                  <a:schemeClr val="tx1"/>
                </a:solidFill>
              </a:rPr>
              <a:t>240 tests/hour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Možno vložit až 100 vzorků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Stačí 2 ml  moče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Automatizované</a:t>
            </a:r>
            <a:r>
              <a:rPr lang="en-US" sz="2000" b="1" dirty="0" smtClean="0">
                <a:solidFill>
                  <a:schemeClr val="tx2"/>
                </a:solidFill>
              </a:rPr>
              <a:t> QC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cs-CZ" dirty="0"/>
          </a:p>
        </p:txBody>
      </p:sp>
      <p:pic>
        <p:nvPicPr>
          <p:cNvPr id="22530" name="Picture 2" descr="C:\Users\Mirka\Documents\Nová složka\labumat2_thumbnai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501008"/>
            <a:ext cx="2710541" cy="2537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" y="2407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669" y="4317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1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Chemická analýza moč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automatizace od 80. let minulého stolet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řístroje využívají stanovení parametrů pomocí diagnostických proužků (suchá chemie)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err="1" smtClean="0"/>
              <a:t>semikvantitativní</a:t>
            </a:r>
            <a:r>
              <a:rPr lang="cs-CZ" altLang="cs-CZ" sz="2400" dirty="0" smtClean="0"/>
              <a:t> stanovení </a:t>
            </a:r>
            <a:r>
              <a:rPr lang="cs-CZ" altLang="cs-CZ" sz="2400" b="1" dirty="0" smtClean="0"/>
              <a:t>bilirubinu, </a:t>
            </a:r>
            <a:r>
              <a:rPr lang="cs-CZ" altLang="cs-CZ" sz="2400" b="1" dirty="0" err="1" smtClean="0"/>
              <a:t>urobilinogenu</a:t>
            </a:r>
            <a:r>
              <a:rPr lang="cs-CZ" altLang="cs-CZ" sz="2400" b="1" dirty="0" smtClean="0"/>
              <a:t>, bílkoviny, ketonů, hemoglobinu, leukocytů, dusitanů, pH, glukosy a specifické hmotnosti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standardizace měřící procedur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namáčení proužků x pipetování na jednotlivé reakční zó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/>
              <a:t>analýza  na principu </a:t>
            </a:r>
            <a:r>
              <a:rPr lang="cs-CZ" altLang="cs-CZ" b="1" dirty="0" smtClean="0"/>
              <a:t>reflexní fotometrie </a:t>
            </a:r>
            <a:r>
              <a:rPr lang="cs-CZ" altLang="cs-CZ" dirty="0" smtClean="0"/>
              <a:t>(případně </a:t>
            </a:r>
            <a:r>
              <a:rPr lang="cs-CZ" altLang="cs-CZ" b="1" dirty="0" smtClean="0"/>
              <a:t>digitální fotografie </a:t>
            </a:r>
            <a:r>
              <a:rPr lang="cs-CZ" altLang="cs-CZ" dirty="0" smtClean="0"/>
              <a:t>diagnostického proužku s vyvinutým zbarvením - </a:t>
            </a:r>
            <a:r>
              <a:rPr lang="cs-CZ" altLang="cs-CZ" dirty="0" err="1" smtClean="0"/>
              <a:t>Atellica</a:t>
            </a:r>
            <a:r>
              <a:rPr lang="cs-CZ" altLang="cs-CZ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453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600" b="1" dirty="0" err="1" smtClean="0"/>
              <a:t>Urised</a:t>
            </a:r>
            <a:r>
              <a:rPr lang="cs-CZ" sz="3600" b="1" dirty="0" smtClean="0"/>
              <a:t> </a:t>
            </a:r>
            <a:r>
              <a:rPr lang="cs-CZ" sz="3600" b="1" dirty="0"/>
              <a:t>3, 77 Elektronik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256584"/>
          </a:xfrm>
        </p:spPr>
        <p:txBody>
          <a:bodyPr>
            <a:noAutofit/>
          </a:bodyPr>
          <a:lstStyle/>
          <a:p>
            <a:r>
              <a:rPr lang="en-US" sz="1800" b="1" dirty="0" smtClean="0">
                <a:solidFill>
                  <a:schemeClr val="tx1"/>
                </a:solidFill>
              </a:rPr>
              <a:t>15</a:t>
            </a:r>
            <a:r>
              <a:rPr lang="cs-CZ" sz="1800" b="1" dirty="0" smtClean="0">
                <a:solidFill>
                  <a:schemeClr val="tx1"/>
                </a:solidFill>
              </a:rPr>
              <a:t> obrazů</a:t>
            </a:r>
            <a:r>
              <a:rPr lang="en-US" sz="1800" b="1" dirty="0">
                <a:solidFill>
                  <a:schemeClr val="tx1"/>
                </a:solidFill>
              </a:rPr>
              <a:t>/</a:t>
            </a:r>
            <a:r>
              <a:rPr lang="cs-CZ" sz="1800" b="1" dirty="0">
                <a:solidFill>
                  <a:schemeClr val="tx1"/>
                </a:solidFill>
              </a:rPr>
              <a:t>vzorek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r>
              <a:rPr lang="cs-CZ" altLang="cs-CZ" sz="1800" b="1" dirty="0">
                <a:solidFill>
                  <a:schemeClr val="tx1"/>
                </a:solidFill>
              </a:rPr>
              <a:t>Výkon </a:t>
            </a:r>
            <a:r>
              <a:rPr lang="cs-CZ" altLang="cs-CZ" sz="1800" b="1" dirty="0">
                <a:solidFill>
                  <a:schemeClr val="tx2"/>
                </a:solidFill>
              </a:rPr>
              <a:t>120 vzorků/hod</a:t>
            </a:r>
            <a:r>
              <a:rPr lang="cs-CZ" altLang="cs-CZ" sz="1800" b="1" dirty="0" smtClean="0">
                <a:solidFill>
                  <a:schemeClr val="tx2"/>
                </a:solidFill>
              </a:rPr>
              <a:t>.</a:t>
            </a:r>
          </a:p>
          <a:p>
            <a:endParaRPr lang="cs-CZ" alt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err="1">
                <a:solidFill>
                  <a:schemeClr val="tx2"/>
                </a:solidFill>
              </a:rPr>
              <a:t>Zakoncentrování</a:t>
            </a: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en-US" sz="1800" b="1" dirty="0">
                <a:solidFill>
                  <a:schemeClr val="tx2"/>
                </a:solidFill>
              </a:rPr>
              <a:t>20×</a:t>
            </a:r>
            <a:r>
              <a:rPr lang="cs-CZ" sz="1800" b="1" dirty="0">
                <a:solidFill>
                  <a:schemeClr val="tx1"/>
                </a:solidFill>
              </a:rPr>
              <a:t> (Evropské doporučení pro močovou analýzu</a:t>
            </a:r>
            <a:r>
              <a:rPr lang="cs-CZ" sz="1800" b="1" dirty="0" smtClean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accent1"/>
                </a:solidFill>
              </a:rPr>
              <a:t>Manuální </a:t>
            </a:r>
            <a:r>
              <a:rPr lang="en-US" sz="1800" b="1" dirty="0" smtClean="0">
                <a:solidFill>
                  <a:schemeClr val="accent1"/>
                </a:solidFill>
              </a:rPr>
              <a:t> mi</a:t>
            </a:r>
            <a:r>
              <a:rPr lang="cs-CZ" sz="1800" b="1" dirty="0" smtClean="0">
                <a:solidFill>
                  <a:schemeClr val="accent1"/>
                </a:solidFill>
              </a:rPr>
              <a:t>k</a:t>
            </a:r>
            <a:r>
              <a:rPr lang="en-US" sz="1800" b="1" dirty="0" err="1" smtClean="0">
                <a:solidFill>
                  <a:schemeClr val="accent1"/>
                </a:solidFill>
              </a:rPr>
              <a:t>ros</a:t>
            </a:r>
            <a:r>
              <a:rPr lang="cs-CZ" sz="1800" b="1" dirty="0" err="1" smtClean="0">
                <a:solidFill>
                  <a:schemeClr val="accent1"/>
                </a:solidFill>
              </a:rPr>
              <a:t>kopický</a:t>
            </a:r>
            <a:r>
              <a:rPr lang="en-US" sz="1800" b="1" dirty="0" smtClean="0">
                <a:solidFill>
                  <a:schemeClr val="accent1"/>
                </a:solidFill>
              </a:rPr>
              <a:t> m</a:t>
            </a:r>
            <a:r>
              <a:rPr lang="cs-CZ" sz="1800" b="1" dirty="0" smtClean="0">
                <a:solidFill>
                  <a:schemeClr val="accent1"/>
                </a:solidFill>
              </a:rPr>
              <a:t>ó</a:t>
            </a:r>
            <a:r>
              <a:rPr lang="en-US" sz="1800" b="1" dirty="0" smtClean="0">
                <a:solidFill>
                  <a:schemeClr val="accent1"/>
                </a:solidFill>
              </a:rPr>
              <a:t>d: </a:t>
            </a:r>
            <a:r>
              <a:rPr lang="cs-CZ" sz="1800" b="1" dirty="0" smtClean="0">
                <a:solidFill>
                  <a:schemeClr val="accent1"/>
                </a:solidFill>
              </a:rPr>
              <a:t>Možnost prohlédnout kterékoliv pole v kyvetě tak, že jsou vidět i pohybující se mikroorganizmy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Funkce zoom </a:t>
            </a:r>
            <a:r>
              <a:rPr lang="en-US" sz="1800" b="1" dirty="0">
                <a:solidFill>
                  <a:schemeClr val="tx1"/>
                </a:solidFill>
              </a:rPr>
              <a:t/>
            </a:r>
            <a:br>
              <a:rPr lang="en-US" sz="1800" b="1" dirty="0">
                <a:solidFill>
                  <a:schemeClr val="tx1"/>
                </a:solidFill>
              </a:rPr>
            </a:br>
            <a:r>
              <a:rPr lang="en-US" sz="1800" b="1" dirty="0">
                <a:solidFill>
                  <a:schemeClr val="tx1"/>
                </a:solidFill>
              </a:rPr>
              <a:t> </a:t>
            </a: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>
                <a:solidFill>
                  <a:schemeClr val="tx2"/>
                </a:solidFill>
              </a:rPr>
              <a:t>Automatizované</a:t>
            </a:r>
            <a:r>
              <a:rPr lang="en-US" sz="1800" b="1" dirty="0">
                <a:solidFill>
                  <a:schemeClr val="tx2"/>
                </a:solidFill>
              </a:rPr>
              <a:t> QC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2"/>
                </a:solidFill>
              </a:rPr>
              <a:t>Bez </a:t>
            </a:r>
            <a:r>
              <a:rPr lang="en-US" sz="1800" b="1" dirty="0" smtClean="0">
                <a:solidFill>
                  <a:schemeClr val="tx2"/>
                </a:solidFill>
              </a:rPr>
              <a:t>carry</a:t>
            </a:r>
            <a:r>
              <a:rPr lang="cs-CZ" sz="1800" b="1" dirty="0" smtClean="0">
                <a:solidFill>
                  <a:schemeClr val="tx2"/>
                </a:solidFill>
              </a:rPr>
              <a:t> </a:t>
            </a:r>
            <a:r>
              <a:rPr lang="en-US" sz="1800" b="1" dirty="0" smtClean="0">
                <a:solidFill>
                  <a:schemeClr val="tx2"/>
                </a:solidFill>
              </a:rPr>
              <a:t>over</a:t>
            </a:r>
            <a:endParaRPr lang="cs-CZ" sz="1800" b="1" dirty="0" smtClean="0">
              <a:solidFill>
                <a:schemeClr val="tx2"/>
              </a:solidFill>
            </a:endParaRP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Vyhodnocovací modul rozeznává </a:t>
            </a:r>
            <a:r>
              <a:rPr lang="cs-CZ" sz="1800" b="1" dirty="0" smtClean="0">
                <a:solidFill>
                  <a:schemeClr val="tx2"/>
                </a:solidFill>
              </a:rPr>
              <a:t>zvlášť koky a tyčkové bakterie</a:t>
            </a:r>
            <a:endParaRPr lang="cs-CZ" sz="1800" b="1" dirty="0">
              <a:solidFill>
                <a:schemeClr val="tx2"/>
              </a:solidFill>
            </a:endParaRPr>
          </a:p>
          <a:p>
            <a:endParaRPr lang="cs-CZ" sz="2000" dirty="0"/>
          </a:p>
        </p:txBody>
      </p:sp>
      <p:pic>
        <p:nvPicPr>
          <p:cNvPr id="23554" name="Picture 2" descr="C:\Users\Mirka\Documents\Nová složka\urised_3_sideview_kics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16" y="3932006"/>
            <a:ext cx="2506457" cy="198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6268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842" y="9095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78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altLang="cs-CZ" sz="3600" b="1" dirty="0" err="1" smtClean="0"/>
              <a:t>Urised</a:t>
            </a:r>
            <a:r>
              <a:rPr lang="cs-CZ" altLang="cs-CZ" sz="3600" b="1" dirty="0" smtClean="0"/>
              <a:t> 3</a:t>
            </a:r>
          </a:p>
        </p:txBody>
      </p:sp>
      <p:sp>
        <p:nvSpPr>
          <p:cNvPr id="15363" name="Zástupný symbol pro obsah 2"/>
          <p:cNvSpPr>
            <a:spLocks noGrp="1"/>
          </p:cNvSpPr>
          <p:nvPr>
            <p:ph idx="1"/>
          </p:nvPr>
        </p:nvSpPr>
        <p:spPr>
          <a:xfrm>
            <a:off x="251520" y="1124744"/>
            <a:ext cx="8435280" cy="5733256"/>
          </a:xfrm>
        </p:spPr>
        <p:txBody>
          <a:bodyPr>
            <a:normAutofit/>
          </a:bodyPr>
          <a:lstStyle/>
          <a:p>
            <a:r>
              <a:rPr lang="cs-CZ" altLang="cs-CZ" b="1" dirty="0" smtClean="0">
                <a:solidFill>
                  <a:schemeClr val="tx1"/>
                </a:solidFill>
              </a:rPr>
              <a:t>Vybaven</a:t>
            </a:r>
            <a:r>
              <a:rPr lang="cs-CZ" altLang="cs-CZ" b="1" dirty="0" smtClean="0">
                <a:solidFill>
                  <a:schemeClr val="accent1"/>
                </a:solidFill>
              </a:rPr>
              <a:t> </a:t>
            </a:r>
            <a:r>
              <a:rPr lang="cs-CZ" altLang="cs-CZ" b="1" dirty="0" smtClean="0">
                <a:solidFill>
                  <a:schemeClr val="tx2"/>
                </a:solidFill>
              </a:rPr>
              <a:t>fázovým kontrastem</a:t>
            </a:r>
          </a:p>
          <a:p>
            <a:endParaRPr lang="cs-CZ" altLang="cs-CZ" b="1" dirty="0" smtClean="0"/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peciální kombinace 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světelné mikroskopie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a fázového kontrastu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ledováno trojnásobné množství vzorku v porovnání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UriSed</a:t>
            </a:r>
            <a:r>
              <a:rPr lang="cs-CZ" altLang="cs-CZ" b="1" dirty="0" smtClean="0">
                <a:solidFill>
                  <a:schemeClr val="tx1"/>
                </a:solidFill>
              </a:rPr>
              <a:t> 2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Kompatibilita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LabUMat</a:t>
            </a:r>
            <a:r>
              <a:rPr lang="cs-CZ" altLang="cs-CZ" b="1" dirty="0" smtClean="0">
                <a:solidFill>
                  <a:schemeClr val="tx1"/>
                </a:solidFill>
              </a:rPr>
              <a:t> 2, </a:t>
            </a:r>
            <a:r>
              <a:rPr lang="cs-CZ" altLang="cs-CZ" dirty="0">
                <a:solidFill>
                  <a:schemeClr val="tx1"/>
                </a:solidFill>
              </a:rPr>
              <a:t>porovnání výsledků s chemickou analýzou </a:t>
            </a:r>
          </a:p>
          <a:p>
            <a:endParaRPr lang="cs-CZ" altLang="cs-CZ" b="1" dirty="0" smtClean="0"/>
          </a:p>
          <a:p>
            <a:endParaRPr lang="cs-CZ" altLang="cs-CZ" b="1" dirty="0" smtClean="0"/>
          </a:p>
        </p:txBody>
      </p:sp>
      <p:pic>
        <p:nvPicPr>
          <p:cNvPr id="9220" name="Picture 4" descr="https://www.novolab-labware.com/media/catalog/product/cache/3/thumbnail/555x361/9df78eab33525d08d6e5fb8d27136e95/U/r/Urised_3+PC%20layer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556792"/>
            <a:ext cx="4032448" cy="262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1" y="455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00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altLang="cs-CZ" sz="3600" b="1" dirty="0" err="1"/>
              <a:t>Urised</a:t>
            </a:r>
            <a:r>
              <a:rPr lang="cs-CZ" altLang="cs-CZ" sz="3600" b="1" dirty="0"/>
              <a:t> 3</a:t>
            </a:r>
            <a:endParaRPr lang="cs-CZ" sz="3600" dirty="0"/>
          </a:p>
        </p:txBody>
      </p:sp>
      <p:pic>
        <p:nvPicPr>
          <p:cNvPr id="24578" name="Picture 2" descr="Composite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271183"/>
            <a:ext cx="3276172" cy="245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Bright-fiel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44824"/>
            <a:ext cx="3166864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Phase contrast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1" y="1844823"/>
            <a:ext cx="3166863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6548582" y="4211782"/>
            <a:ext cx="2595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Fázový kontrast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755576" y="4219973"/>
            <a:ext cx="2257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větelný mikrosko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6732240" y="6381328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Složený obraz</a:t>
            </a:r>
            <a:endParaRPr lang="cs-CZ" dirty="0"/>
          </a:p>
        </p:txBody>
      </p:sp>
      <p:pic>
        <p:nvPicPr>
          <p:cNvPr id="9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2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2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H:\kuku images\ss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95536" y="-24971"/>
            <a:ext cx="8652229" cy="69217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074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0" y="-25265"/>
            <a:ext cx="8063880" cy="1600200"/>
          </a:xfrm>
        </p:spPr>
        <p:txBody>
          <a:bodyPr/>
          <a:lstStyle/>
          <a:p>
            <a:r>
              <a:rPr lang="cs-CZ" dirty="0" smtClean="0"/>
              <a:t/>
            </a:r>
            <a:br>
              <a:rPr lang="cs-CZ" dirty="0" smtClean="0"/>
            </a:br>
            <a:r>
              <a:rPr lang="cs-CZ" sz="3600" b="1" dirty="0" err="1" smtClean="0"/>
              <a:t>cobas</a:t>
            </a:r>
            <a:r>
              <a:rPr lang="cs-CZ" sz="3600" b="1" dirty="0" smtClean="0"/>
              <a:t> 6500, </a:t>
            </a:r>
            <a:r>
              <a:rPr lang="cs-CZ" sz="3600" b="1" dirty="0" err="1" smtClean="0"/>
              <a:t>Roche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400" b="1" dirty="0" smtClean="0"/>
              <a:t>močový sediment + </a:t>
            </a:r>
            <a:r>
              <a:rPr lang="cs-CZ" sz="2400" b="1" dirty="0" err="1" smtClean="0"/>
              <a:t>chem</a:t>
            </a:r>
            <a:r>
              <a:rPr lang="cs-CZ" sz="2400" b="1" dirty="0" smtClean="0"/>
              <a:t>. analýza</a:t>
            </a:r>
            <a:endParaRPr lang="en-US" sz="2400" b="1" dirty="0"/>
          </a:p>
        </p:txBody>
      </p:sp>
      <p:pic>
        <p:nvPicPr>
          <p:cNvPr id="7170" name="Picture 2" descr="https://www.mojemedicina.cz/files/videos/2014_11_27_CB_DGN_Ferdova-cobas-6500/slides/slide_03.jpg">
            <a:hlinkClick r:id="rId2"/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58" b="10693"/>
          <a:stretch/>
        </p:blipFill>
        <p:spPr bwMode="auto">
          <a:xfrm>
            <a:off x="484875" y="2348880"/>
            <a:ext cx="7962900" cy="40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0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308" y="980728"/>
            <a:ext cx="2546647" cy="146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3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77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3948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Nadpis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8280920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- automatický systém na močovou analýzu</a:t>
            </a:r>
            <a:endParaRPr lang="cs-CZ" altLang="cs-CZ" sz="3600" dirty="0" smtClean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388" y="1484784"/>
            <a:ext cx="8964612" cy="5373216"/>
          </a:xfrm>
        </p:spPr>
        <p:txBody>
          <a:bodyPr>
            <a:normAutofit/>
          </a:bodyPr>
          <a:lstStyle/>
          <a:p>
            <a:pPr indent="0">
              <a:spcBef>
                <a:spcPts val="0"/>
              </a:spcBef>
              <a:buNone/>
              <a:defRPr/>
            </a:pPr>
            <a:endParaRPr lang="cs-CZ" sz="2000" b="1" dirty="0">
              <a:solidFill>
                <a:schemeClr val="tx1"/>
              </a:solidFill>
            </a:endParaRPr>
          </a:p>
          <a:p>
            <a:pPr indent="0">
              <a:spcBef>
                <a:spcPts val="0"/>
              </a:spcBef>
              <a:buNone/>
              <a:defRPr/>
            </a:pPr>
            <a:r>
              <a:rPr lang="cs-CZ" sz="2000" b="1" dirty="0" smtClean="0">
                <a:solidFill>
                  <a:schemeClr val="tx1"/>
                </a:solidFill>
              </a:rPr>
              <a:t>Spojením modulů </a:t>
            </a:r>
            <a:r>
              <a:rPr lang="cs-CZ" sz="2000" b="1" dirty="0" err="1">
                <a:solidFill>
                  <a:schemeClr val="tx1"/>
                </a:solidFill>
              </a:rPr>
              <a:t>cobas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</a:t>
            </a:r>
            <a:r>
              <a:rPr lang="cs-CZ" sz="2000" b="1" dirty="0">
                <a:solidFill>
                  <a:schemeClr val="tx1"/>
                </a:solidFill>
              </a:rPr>
              <a:t> 601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cobas</a:t>
            </a:r>
            <a:r>
              <a:rPr lang="cs-CZ" sz="2000" b="1" dirty="0" smtClean="0">
                <a:solidFill>
                  <a:schemeClr val="tx1"/>
                </a:solidFill>
              </a:rPr>
              <a:t> u 701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vzniká </a:t>
            </a:r>
            <a:r>
              <a:rPr lang="cs-CZ" sz="2000" b="1" dirty="0" smtClean="0">
                <a:solidFill>
                  <a:schemeClr val="tx2"/>
                </a:solidFill>
              </a:rPr>
              <a:t>platforma </a:t>
            </a:r>
            <a:r>
              <a:rPr lang="cs-CZ" sz="2000" b="1" dirty="0">
                <a:solidFill>
                  <a:schemeClr val="tx2"/>
                </a:solidFill>
              </a:rPr>
              <a:t>s automatickým </a:t>
            </a:r>
            <a:endParaRPr lang="cs-CZ" sz="2000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transportem </a:t>
            </a:r>
            <a:r>
              <a:rPr lang="cs-CZ" sz="2000" b="1" dirty="0">
                <a:solidFill>
                  <a:schemeClr val="tx2"/>
                </a:solidFill>
              </a:rPr>
              <a:t>vzorků celým </a:t>
            </a:r>
            <a:r>
              <a:rPr lang="cs-CZ" sz="2000" b="1" dirty="0" smtClean="0">
                <a:solidFill>
                  <a:schemeClr val="tx2"/>
                </a:solidFill>
              </a:rPr>
              <a:t>systémem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diagnostickým proužkem první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Možnost vyšetření sedimentu jen </a:t>
            </a:r>
            <a:r>
              <a:rPr lang="cs-CZ" sz="2000" b="1" dirty="0" smtClean="0">
                <a:solidFill>
                  <a:schemeClr val="tx1"/>
                </a:solidFill>
              </a:rPr>
              <a:t>u pozitivních výsled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Uživatel může nastavit pravidla křížové kontroly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a validace</a:t>
            </a:r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  <a:defRPr/>
            </a:pPr>
            <a:endParaRPr lang="cs-CZ" dirty="0"/>
          </a:p>
          <a:p>
            <a:pPr marL="0" indent="0">
              <a:buFontTx/>
              <a:buNone/>
              <a:defRPr/>
            </a:pPr>
            <a:endParaRPr lang="cs-CZ" sz="2400" b="1" dirty="0" smtClean="0"/>
          </a:p>
          <a:p>
            <a:pPr>
              <a:defRPr/>
            </a:pPr>
            <a:endParaRPr lang="cs-CZ" sz="2400" b="1" dirty="0" smtClean="0"/>
          </a:p>
        </p:txBody>
      </p:sp>
      <p:pic>
        <p:nvPicPr>
          <p:cNvPr id="5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5378977"/>
            <a:ext cx="2376264" cy="1362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132856"/>
            <a:ext cx="1951484" cy="167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05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27089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601</a:t>
            </a:r>
            <a:r>
              <a:rPr lang="cs-CZ" sz="2400" dirty="0" smtClean="0"/>
              <a:t>-</a:t>
            </a:r>
            <a:r>
              <a:rPr lang="cs-CZ" sz="2400" dirty="0"/>
              <a:t>analýza moči pomocí testovacích proužků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544" y="1537322"/>
            <a:ext cx="8229600" cy="5112568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240 </a:t>
            </a:r>
            <a:r>
              <a:rPr lang="cs-CZ" sz="2000" b="1" dirty="0" smtClean="0">
                <a:solidFill>
                  <a:schemeClr val="tx1"/>
                </a:solidFill>
              </a:rPr>
              <a:t>vzorků/ 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proužků v kazetě </a:t>
            </a:r>
            <a:r>
              <a:rPr lang="cs-CZ" sz="2000" b="1" dirty="0" smtClean="0">
                <a:solidFill>
                  <a:schemeClr val="tx1"/>
                </a:solidFill>
              </a:rPr>
              <a:t>se </a:t>
            </a:r>
            <a:r>
              <a:rPr lang="cs-CZ" sz="2000" b="1" dirty="0" smtClean="0">
                <a:solidFill>
                  <a:schemeClr val="tx2"/>
                </a:solidFill>
              </a:rPr>
              <a:t>značením RFID</a:t>
            </a:r>
            <a:endParaRPr lang="cs-CZ" sz="2000" b="1" dirty="0">
              <a:solidFill>
                <a:schemeClr val="tx2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Obrazový </a:t>
            </a:r>
            <a:r>
              <a:rPr lang="cs-CZ" sz="2000" b="1" dirty="0">
                <a:solidFill>
                  <a:schemeClr val="tx1"/>
                </a:solidFill>
              </a:rPr>
              <a:t>senzor (kamerový čip) 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provádí fotometrická měření </a:t>
            </a:r>
          </a:p>
          <a:p>
            <a:r>
              <a:rPr lang="cs-CZ" sz="2000" b="1" dirty="0">
                <a:solidFill>
                  <a:schemeClr val="tx1"/>
                </a:solidFill>
              </a:rPr>
              <a:t>O</a:t>
            </a:r>
            <a:r>
              <a:rPr lang="cs-CZ" sz="2000" b="1" dirty="0" smtClean="0">
                <a:solidFill>
                  <a:schemeClr val="tx1"/>
                </a:solidFill>
              </a:rPr>
              <a:t>dlišení </a:t>
            </a:r>
            <a:r>
              <a:rPr lang="cs-CZ" sz="2000" b="1" dirty="0">
                <a:solidFill>
                  <a:schemeClr val="tx1"/>
                </a:solidFill>
              </a:rPr>
              <a:t>intaktních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ých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erytrocytů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</a:t>
            </a:r>
            <a:r>
              <a:rPr lang="cs-CZ" sz="1600" dirty="0" smtClean="0">
                <a:solidFill>
                  <a:schemeClr val="tx1"/>
                </a:solidFill>
              </a:rPr>
              <a:t>(do </a:t>
            </a:r>
            <a:r>
              <a:rPr lang="cs-CZ" sz="1600" dirty="0">
                <a:solidFill>
                  <a:schemeClr val="tx1"/>
                </a:solidFill>
              </a:rPr>
              <a:t>50 </a:t>
            </a:r>
            <a:r>
              <a:rPr lang="cs-CZ" sz="1600" dirty="0" smtClean="0">
                <a:solidFill>
                  <a:schemeClr val="tx1"/>
                </a:solidFill>
              </a:rPr>
              <a:t>Ery/</a:t>
            </a:r>
            <a:r>
              <a:rPr lang="el-GR" sz="1600" dirty="0">
                <a:solidFill>
                  <a:schemeClr val="tx1"/>
                </a:solidFill>
              </a:rPr>
              <a:t>μ</a:t>
            </a:r>
            <a:r>
              <a:rPr lang="cs-CZ" sz="1600" dirty="0" smtClean="0">
                <a:solidFill>
                  <a:schemeClr val="tx1"/>
                </a:solidFill>
              </a:rPr>
              <a:t>L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12 </a:t>
            </a:r>
            <a:r>
              <a:rPr lang="cs-CZ" sz="2000" b="1" dirty="0">
                <a:solidFill>
                  <a:schemeClr val="tx2"/>
                </a:solidFill>
              </a:rPr>
              <a:t>parametrů: </a:t>
            </a:r>
            <a:r>
              <a:rPr lang="cs-CZ" sz="2000" b="1" dirty="0">
                <a:solidFill>
                  <a:schemeClr val="tx1"/>
                </a:solidFill>
              </a:rPr>
              <a:t>pH, leukocyty, dusitany, bílkovina,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glukóza</a:t>
            </a:r>
            <a:r>
              <a:rPr lang="cs-CZ" sz="2000" b="1" dirty="0">
                <a:solidFill>
                  <a:schemeClr val="tx1"/>
                </a:solidFill>
              </a:rPr>
              <a:t>, ketolátky, </a:t>
            </a:r>
            <a:r>
              <a:rPr lang="cs-CZ" sz="2000" b="1" dirty="0" err="1">
                <a:solidFill>
                  <a:schemeClr val="tx1"/>
                </a:solidFill>
              </a:rPr>
              <a:t>urobilinogen</a:t>
            </a:r>
            <a:r>
              <a:rPr lang="cs-CZ" sz="2000" b="1" dirty="0">
                <a:solidFill>
                  <a:schemeClr val="tx1"/>
                </a:solidFill>
              </a:rPr>
              <a:t>, bilirubin, </a:t>
            </a:r>
            <a:r>
              <a:rPr lang="cs-CZ" sz="2000" b="1" dirty="0" smtClean="0">
                <a:solidFill>
                  <a:schemeClr val="tx1"/>
                </a:solidFill>
              </a:rPr>
              <a:t>  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erytrocyty, hustota</a:t>
            </a:r>
            <a:r>
              <a:rPr lang="cs-CZ" sz="2000" b="1" dirty="0">
                <a:solidFill>
                  <a:schemeClr val="tx1"/>
                </a:solidFill>
              </a:rPr>
              <a:t>, barva a </a:t>
            </a:r>
            <a:r>
              <a:rPr lang="cs-CZ" sz="2000" b="1" dirty="0" smtClean="0">
                <a:solidFill>
                  <a:schemeClr val="tx1"/>
                </a:solidFill>
              </a:rPr>
              <a:t>zákal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 Proužky </a:t>
            </a:r>
            <a:r>
              <a:rPr lang="cs-CZ" sz="2000" b="1" dirty="0">
                <a:solidFill>
                  <a:schemeClr val="tx1"/>
                </a:solidFill>
              </a:rPr>
              <a:t>s rezistencí vůči kyselině askorbové</a:t>
            </a:r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702" y="2060848"/>
            <a:ext cx="2304256" cy="1352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2136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202" y="632928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602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552" y="404664"/>
            <a:ext cx="9112448" cy="273630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701 </a:t>
            </a:r>
            <a:r>
              <a:rPr lang="cs-CZ" sz="4400" dirty="0" smtClean="0"/>
              <a:t>– </a:t>
            </a:r>
            <a:r>
              <a:rPr lang="cs-CZ" sz="2400" dirty="0" smtClean="0"/>
              <a:t>automatizované mikroskopické vyšetření</a:t>
            </a:r>
            <a:r>
              <a:rPr lang="cs-CZ" sz="2400" dirty="0"/>
              <a:t> </a:t>
            </a:r>
            <a:r>
              <a:rPr lang="cs-CZ" sz="2400" dirty="0" smtClean="0"/>
              <a:t>močového </a:t>
            </a:r>
            <a:r>
              <a:rPr lang="cs-CZ" sz="2400" dirty="0"/>
              <a:t>sedimentu.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5229200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116 </a:t>
            </a:r>
            <a:r>
              <a:rPr lang="cs-CZ" sz="2000" b="1" dirty="0" smtClean="0">
                <a:solidFill>
                  <a:schemeClr val="tx1"/>
                </a:solidFill>
              </a:rPr>
              <a:t>vzorků/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pl-PL" sz="2000" b="1" dirty="0" smtClean="0">
                <a:solidFill>
                  <a:schemeClr val="tx1"/>
                </a:solidFill>
              </a:rPr>
              <a:t>Koncepce </a:t>
            </a:r>
            <a:r>
              <a:rPr lang="pl-PL" sz="2000" b="1" dirty="0">
                <a:solidFill>
                  <a:schemeClr val="tx1"/>
                </a:solidFill>
              </a:rPr>
              <a:t>bez reagencií </a:t>
            </a:r>
            <a:endParaRPr lang="pl-PL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J</a:t>
            </a:r>
            <a:r>
              <a:rPr lang="cs-CZ" sz="2000" b="1" dirty="0" smtClean="0">
                <a:solidFill>
                  <a:schemeClr val="tx1"/>
                </a:solidFill>
              </a:rPr>
              <a:t>ednorázové </a:t>
            </a:r>
            <a:r>
              <a:rPr lang="cs-CZ" sz="2000" b="1" dirty="0">
                <a:solidFill>
                  <a:schemeClr val="tx1"/>
                </a:solidFill>
              </a:rPr>
              <a:t>kyvety (</a:t>
            </a:r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kyvet v kazetě se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značením RFID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Postup:</a:t>
            </a:r>
          </a:p>
          <a:p>
            <a:r>
              <a:rPr lang="cs-CZ" sz="2000" b="1" dirty="0" err="1" smtClean="0">
                <a:solidFill>
                  <a:schemeClr val="tx1"/>
                </a:solidFill>
              </a:rPr>
              <a:t>Resuspendace</a:t>
            </a:r>
            <a:r>
              <a:rPr lang="cs-CZ" sz="2000" b="1" dirty="0" smtClean="0">
                <a:solidFill>
                  <a:schemeClr val="tx1"/>
                </a:solidFill>
              </a:rPr>
              <a:t>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Pipetování vzorku </a:t>
            </a:r>
            <a:r>
              <a:rPr lang="cs-CZ" sz="2000" b="1" dirty="0">
                <a:solidFill>
                  <a:schemeClr val="tx1"/>
                </a:solidFill>
              </a:rPr>
              <a:t>do </a:t>
            </a:r>
            <a:r>
              <a:rPr lang="cs-CZ" sz="2000" b="1" dirty="0" smtClean="0">
                <a:solidFill>
                  <a:schemeClr val="tx1"/>
                </a:solidFill>
              </a:rPr>
              <a:t>kyvet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Centrifug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Zachycení, uchování </a:t>
            </a:r>
            <a:r>
              <a:rPr lang="cs-CZ" sz="2000" b="1" dirty="0">
                <a:solidFill>
                  <a:schemeClr val="tx1"/>
                </a:solidFill>
              </a:rPr>
              <a:t>a </a:t>
            </a:r>
            <a:r>
              <a:rPr lang="cs-CZ" sz="2000" b="1" dirty="0" smtClean="0">
                <a:solidFill>
                  <a:schemeClr val="tx1"/>
                </a:solidFill>
              </a:rPr>
              <a:t>zobrazení </a:t>
            </a:r>
            <a:r>
              <a:rPr lang="cs-CZ" sz="2000" b="1" dirty="0">
                <a:solidFill>
                  <a:schemeClr val="tx1"/>
                </a:solidFill>
              </a:rPr>
              <a:t>až 15 snímků z </a:t>
            </a:r>
            <a:r>
              <a:rPr lang="cs-CZ" sz="2000" b="1" dirty="0" smtClean="0">
                <a:solidFill>
                  <a:schemeClr val="tx1"/>
                </a:solidFill>
              </a:rPr>
              <a:t>centrifugovaného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 err="1">
                <a:solidFill>
                  <a:schemeClr val="tx1"/>
                </a:solidFill>
              </a:rPr>
              <a:t>reklasifikace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možňuje přehodnotit určení </a:t>
            </a:r>
            <a:r>
              <a:rPr lang="cs-CZ" sz="2000" b="1" dirty="0">
                <a:solidFill>
                  <a:schemeClr val="tx1"/>
                </a:solidFill>
              </a:rPr>
              <a:t>každé </a:t>
            </a:r>
            <a:r>
              <a:rPr lang="cs-CZ" sz="2000" b="1" dirty="0" smtClean="0">
                <a:solidFill>
                  <a:schemeClr val="tx1"/>
                </a:solidFill>
              </a:rPr>
              <a:t>částice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538" y="2852936"/>
            <a:ext cx="2042103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1" y="8210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46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8856984" cy="620688"/>
          </a:xfrm>
        </p:spPr>
        <p:txBody>
          <a:bodyPr/>
          <a:lstStyle/>
          <a:p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– image z modulu </a:t>
            </a: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u701</a:t>
            </a:r>
            <a:endParaRPr lang="cs-CZ" altLang="cs-CZ" sz="3600" dirty="0" smtClean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20688"/>
            <a:ext cx="7616620" cy="609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6546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cs-CZ" sz="2000" b="1" dirty="0" smtClean="0"/>
          </a:p>
          <a:p>
            <a:endParaRPr lang="cs-CZ" sz="2000" b="1" dirty="0"/>
          </a:p>
          <a:p>
            <a:endParaRPr lang="cs-CZ" sz="2000" b="1" dirty="0" smtClean="0"/>
          </a:p>
          <a:p>
            <a:r>
              <a:rPr lang="cs-CZ" sz="2000" b="1" dirty="0" smtClean="0">
                <a:solidFill>
                  <a:schemeClr val="tx1"/>
                </a:solidFill>
              </a:rPr>
              <a:t>Uvedení na trh 10/2017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Bez fázového kontrastu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Rozlišuje přímo </a:t>
            </a:r>
            <a:r>
              <a:rPr lang="cs-CZ" sz="2000" b="1" dirty="0" smtClean="0">
                <a:solidFill>
                  <a:schemeClr val="accent1"/>
                </a:solidFill>
              </a:rPr>
              <a:t>10 druhů krystalů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accent1"/>
                </a:solidFill>
              </a:rPr>
              <a:t> </a:t>
            </a:r>
            <a:r>
              <a:rPr lang="cs-CZ" sz="2000" b="1" dirty="0" smtClean="0">
                <a:solidFill>
                  <a:schemeClr val="accent1"/>
                </a:solidFill>
              </a:rPr>
              <a:t>                               bakterie - koky x tyčky</a:t>
            </a:r>
            <a:endParaRPr lang="cs-CZ" sz="2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509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268413"/>
          </a:xfrm>
        </p:spPr>
        <p:txBody>
          <a:bodyPr/>
          <a:lstStyle/>
          <a:p>
            <a:pPr eaLnBrk="1" hangingPunct="1"/>
            <a:r>
              <a:rPr lang="cs-CZ" altLang="cs-CZ" sz="3600" b="1" smtClean="0">
                <a:cs typeface="Arial" charset="0"/>
              </a:rPr>
              <a:t>Chemická analýza moče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Tx/>
              <a:buNone/>
            </a:pPr>
            <a:r>
              <a:rPr lang="cs-CZ" altLang="cs-CZ" sz="2800" b="1" smtClean="0"/>
              <a:t>Reflexní fotometrie:</a:t>
            </a:r>
          </a:p>
          <a:p>
            <a:pPr eaLnBrk="1" hangingPunct="1"/>
            <a:r>
              <a:rPr lang="cs-CZ" altLang="cs-CZ" sz="2400" smtClean="0"/>
              <a:t>zdroj světla - </a:t>
            </a:r>
            <a:r>
              <a:rPr lang="cs-CZ" altLang="cs-CZ" sz="2400" b="1" smtClean="0">
                <a:solidFill>
                  <a:srgbClr val="C00000"/>
                </a:solidFill>
              </a:rPr>
              <a:t>světlo emitující diody</a:t>
            </a:r>
          </a:p>
          <a:p>
            <a:pPr eaLnBrk="1" hangingPunct="1"/>
            <a:r>
              <a:rPr lang="cs-CZ" altLang="cs-CZ" sz="2400" smtClean="0"/>
              <a:t>emitují světlo o různých přesně definovaných vlnových délkách – světlo pak dopadá v různých úhlech na reagenční zóny diagnostického proužku </a:t>
            </a:r>
          </a:p>
          <a:p>
            <a:pPr eaLnBrk="1" hangingPunct="1"/>
            <a:r>
              <a:rPr lang="cs-CZ" altLang="cs-CZ" sz="2400" b="1" smtClean="0">
                <a:solidFill>
                  <a:srgbClr val="C00000"/>
                </a:solidFill>
              </a:rPr>
              <a:t>světlo je odráženo na fotodiodu</a:t>
            </a:r>
            <a:r>
              <a:rPr lang="cs-CZ" altLang="cs-CZ" sz="2400" smtClean="0"/>
              <a:t>, která slouží jako detektor</a:t>
            </a:r>
          </a:p>
          <a:p>
            <a:pPr eaLnBrk="1" hangingPunct="1"/>
            <a:r>
              <a:rPr lang="cs-CZ" altLang="cs-CZ" sz="2400" smtClean="0"/>
              <a:t>intenzita odraženého světla závisí na vybarvení reakční zóny (od bílé zóny se odráží prakticky 100%, čím tmavší zóna, tím víc světla je absorbováno)</a:t>
            </a:r>
          </a:p>
        </p:txBody>
      </p:sp>
    </p:spTree>
    <p:extLst>
      <p:ext uri="{BB962C8B-B14F-4D97-AF65-F5344CB8AC3E}">
        <p14:creationId xmlns:p14="http://schemas.microsoft.com/office/powerpoint/2010/main" val="210908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8760"/>
          </a:xfrm>
        </p:spPr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4" name="AutoShape 4" descr="Resultat d'imatges de atellica 1500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07797" y="-2185987"/>
            <a:ext cx="4128291" cy="309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pic>
        <p:nvPicPr>
          <p:cNvPr id="4101" name="Picture 5" descr="\\fnbrno.cz\tree\Home\27232\My Pictures\Atellica 15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56792"/>
            <a:ext cx="6780245" cy="508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9236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6" name="Picture 6" descr="H_DX_CLINITEKNovus_LoadCartridge_0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42" y="1673902"/>
            <a:ext cx="3085432" cy="2863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028643" y="4773715"/>
            <a:ext cx="2976269" cy="953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Cassette Loading</a:t>
            </a:r>
          </a:p>
          <a:p>
            <a:pPr>
              <a:spcAft>
                <a:spcPts val="600"/>
              </a:spcAft>
            </a:pPr>
            <a:r>
              <a:rPr lang="en-US" altLang="en-US" sz="1399" dirty="0">
                <a:latin typeface="Calibri" panose="020F0502020204030204" pitchFamily="34" charset="0"/>
              </a:rPr>
              <a:t>RFID tagged cassette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14 </a:t>
            </a:r>
            <a:r>
              <a:rPr lang="en-US" altLang="en-US" sz="1399" dirty="0">
                <a:latin typeface="Calibri" panose="020F0502020204030204" pitchFamily="34" charset="0"/>
              </a:rPr>
              <a:t>days onboard stability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251520" y="188640"/>
            <a:ext cx="8643278" cy="899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cs-CZ" sz="3600" dirty="0" smtClean="0">
                <a:latin typeface="+mn-lt"/>
              </a:rPr>
              <a:t>Reagenční karty v kazetě místo diagnostických proužků</a:t>
            </a:r>
            <a:r>
              <a:rPr lang="en-US" sz="3600" dirty="0">
                <a:latin typeface="+mn-lt"/>
              </a:rPr>
              <a:t/>
            </a:r>
            <a:br>
              <a:rPr lang="en-US" sz="3600" dirty="0">
                <a:latin typeface="+mn-lt"/>
              </a:rPr>
            </a:br>
            <a:endParaRPr lang="en-US" sz="3600" kern="0" dirty="0">
              <a:latin typeface="+mn-lt"/>
            </a:endParaRPr>
          </a:p>
        </p:txBody>
      </p:sp>
      <p:pic>
        <p:nvPicPr>
          <p:cNvPr id="13" name="Picture 2" descr="D:\Market materials\Novus\Novus Uptodate\Images and video\CN_Cardhandler_640x480[1]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9479" y="1673902"/>
            <a:ext cx="2863332" cy="286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008415" y="4773484"/>
            <a:ext cx="2844397" cy="876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Reagent cards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Prevent </a:t>
            </a:r>
            <a:r>
              <a:rPr lang="en-US" altLang="en-US" sz="1399" dirty="0">
                <a:latin typeface="Calibri" panose="020F0502020204030204" pitchFamily="34" charset="0"/>
              </a:rPr>
              <a:t>strip jamming and improves downtime</a:t>
            </a:r>
          </a:p>
        </p:txBody>
      </p:sp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5455" y="3828280"/>
            <a:ext cx="561813" cy="708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58"/>
          <p:cNvSpPr txBox="1">
            <a:spLocks noChangeArrowheads="1"/>
          </p:cNvSpPr>
          <p:nvPr/>
        </p:nvSpPr>
        <p:spPr bwMode="auto">
          <a:xfrm>
            <a:off x="5316944" y="6367818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51520" y="5650262"/>
            <a:ext cx="8643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b="1" dirty="0" smtClean="0"/>
              <a:t>Princip </a:t>
            </a:r>
            <a:r>
              <a:rPr lang="cs-CZ" altLang="cs-CZ" b="1" dirty="0" err="1" smtClean="0"/>
              <a:t>chem</a:t>
            </a:r>
            <a:r>
              <a:rPr lang="cs-CZ" altLang="cs-CZ" b="1" dirty="0" smtClean="0"/>
              <a:t>. analýzy: Digitální </a:t>
            </a:r>
            <a:r>
              <a:rPr lang="cs-CZ" altLang="cs-CZ" b="1" dirty="0"/>
              <a:t>fotografie </a:t>
            </a:r>
            <a:r>
              <a:rPr lang="cs-CZ" altLang="cs-CZ" dirty="0"/>
              <a:t>diagnostického proužku s vyvinutým zbarvením </a:t>
            </a:r>
            <a:endParaRPr lang="cs-CZ" altLang="cs-CZ" dirty="0" smtClean="0"/>
          </a:p>
          <a:p>
            <a:r>
              <a:rPr lang="cs-CZ" dirty="0" smtClean="0"/>
              <a:t>Vychází z chemického analyzátoru </a:t>
            </a:r>
            <a:r>
              <a:rPr lang="cs-CZ" dirty="0" err="1" smtClean="0"/>
              <a:t>Clinitek</a:t>
            </a:r>
            <a:r>
              <a:rPr lang="cs-CZ" dirty="0" smtClean="0"/>
              <a:t> </a:t>
            </a:r>
            <a:r>
              <a:rPr lang="cs-CZ" dirty="0" err="1" smtClean="0"/>
              <a:t>Novus</a:t>
            </a:r>
            <a:endParaRPr lang="cs-CZ" dirty="0" smtClean="0"/>
          </a:p>
          <a:p>
            <a:r>
              <a:rPr lang="cs-CZ" dirty="0" smtClean="0"/>
              <a:t>Výkon – </a:t>
            </a:r>
            <a:r>
              <a:rPr lang="cs-CZ" dirty="0" err="1" smtClean="0"/>
              <a:t>chem.vyšetření</a:t>
            </a:r>
            <a:r>
              <a:rPr lang="cs-CZ" dirty="0" smtClean="0"/>
              <a:t>: 200 vzorků/hod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418746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5" y="3389"/>
          <a:ext cx="1190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3389"/>
                        <a:ext cx="1190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0816" y="0"/>
            <a:ext cx="7677567" cy="13407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799" dirty="0">
                <a:latin typeface="Calibri" panose="020F0502020204030204" pitchFamily="34" charset="0"/>
              </a:rPr>
              <a:t/>
            </a:r>
            <a:br>
              <a:rPr lang="en-US" sz="2799" dirty="0">
                <a:latin typeface="Calibri" panose="020F0502020204030204" pitchFamily="34" charset="0"/>
              </a:rPr>
            </a:br>
            <a:r>
              <a:rPr lang="cs-CZ" sz="3600" dirty="0" err="1"/>
              <a:t>Atellica</a:t>
            </a:r>
            <a:r>
              <a:rPr lang="cs-CZ" sz="3600" dirty="0"/>
              <a:t> 1500, </a:t>
            </a:r>
            <a:r>
              <a:rPr lang="cs-CZ" sz="3600" dirty="0" smtClean="0"/>
              <a:t>Siemens</a:t>
            </a:r>
            <a:br>
              <a:rPr lang="cs-CZ" sz="3600" dirty="0" smtClean="0"/>
            </a:br>
            <a:r>
              <a:rPr lang="cs-CZ" sz="2400" b="0" dirty="0" smtClean="0"/>
              <a:t>Automatická mikroskopie po centrifugaci –</a:t>
            </a:r>
            <a:br>
              <a:rPr lang="cs-CZ" sz="2400" b="0" dirty="0" smtClean="0"/>
            </a:br>
            <a:r>
              <a:rPr lang="cs-CZ" sz="2400" b="0" dirty="0" smtClean="0"/>
              <a:t>vychází z 77 Elektronika (100 vzorků/hod.)</a:t>
            </a:r>
            <a:endParaRPr lang="cs-CZ" sz="2400" b="0" dirty="0"/>
          </a:p>
        </p:txBody>
      </p:sp>
      <p:pic>
        <p:nvPicPr>
          <p:cNvPr id="8" name="Picture 6" descr="D:\Seuss launch\Marketing collaterals\Image library\Image for Michelle-UCSF\Images with annotation\EPI-NEC-WBC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18" y="1686849"/>
            <a:ext cx="4026977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0" name="Picture 40" descr="D:\Seuss launch\Marketing collaterals\Image library\Image library\160607_10_42_33_S0022-1_-_08_b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08" y="1652034"/>
            <a:ext cx="4027910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3298" y="5853793"/>
            <a:ext cx="50963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Clear “In-focus” Images from </a:t>
            </a:r>
            <a:r>
              <a:rPr lang="en-US" b="1" dirty="0" err="1">
                <a:solidFill>
                  <a:srgbClr val="EC6602"/>
                </a:solidFill>
                <a:latin typeface="Calibri" panose="020F0502020204030204" pitchFamily="34" charset="0"/>
              </a:rPr>
              <a:t>Atellica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 1500 UA Syste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1493" y="5882290"/>
            <a:ext cx="1824667" cy="290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sz="2099" b="1" dirty="0">
                <a:solidFill>
                  <a:srgbClr val="EC6602"/>
                </a:solidFill>
                <a:latin typeface="Calibri" panose="020F0502020204030204" pitchFamily="34" charset="0"/>
              </a:rPr>
              <a:t>“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Off-focus” Images</a:t>
            </a:r>
          </a:p>
        </p:txBody>
      </p:sp>
      <p:sp>
        <p:nvSpPr>
          <p:cNvPr id="10" name="TextBox 158"/>
          <p:cNvSpPr txBox="1">
            <a:spLocks noChangeArrowheads="1"/>
          </p:cNvSpPr>
          <p:nvPr/>
        </p:nvSpPr>
        <p:spPr bwMode="auto">
          <a:xfrm>
            <a:off x="5307903" y="6388099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</p:spTree>
    <p:extLst>
      <p:ext uri="{BB962C8B-B14F-4D97-AF65-F5344CB8AC3E}">
        <p14:creationId xmlns:p14="http://schemas.microsoft.com/office/powerpoint/2010/main" val="287176749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s využitím </a:t>
            </a:r>
            <a:r>
              <a:rPr lang="cs-CZ" sz="2400" b="1" dirty="0" smtClean="0">
                <a:solidFill>
                  <a:schemeClr val="tx1"/>
                </a:solidFill>
              </a:rPr>
              <a:t>sedimentace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81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606" y="48275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12926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r>
              <a:rPr lang="cs-CZ" sz="3600" b="1" dirty="0" smtClean="0"/>
              <a:t>UD-10, </a:t>
            </a:r>
            <a:r>
              <a:rPr lang="cs-CZ" sz="3600" b="1" dirty="0" err="1"/>
              <a:t>Sysmex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772815"/>
            <a:ext cx="8435280" cy="4353347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Využívá </a:t>
            </a:r>
            <a:r>
              <a:rPr lang="cs-CZ" sz="2000" b="1" dirty="0" smtClean="0">
                <a:solidFill>
                  <a:schemeClr val="tx2"/>
                </a:solidFill>
              </a:rPr>
              <a:t>přirozenou sedimentaci účinkem gravitace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(viz výše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2348880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392925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Nadpis 10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en-GB" sz="3600" b="1" dirty="0" smtClean="0"/>
              <a:t>LAURA </a:t>
            </a:r>
            <a:r>
              <a:rPr lang="cs-CZ" sz="3600" b="1" dirty="0" smtClean="0"/>
              <a:t>XL, Erba </a:t>
            </a:r>
            <a:r>
              <a:rPr lang="cs-CZ" sz="3600" b="1" dirty="0" err="1" smtClean="0"/>
              <a:t>Lachema</a:t>
            </a:r>
            <a:endParaRPr lang="en-GB" sz="3600" b="1" dirty="0"/>
          </a:p>
        </p:txBody>
      </p:sp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4" y="1196752"/>
            <a:ext cx="8758615" cy="5661248"/>
          </a:xfrm>
        </p:spPr>
        <p:txBody>
          <a:bodyPr>
            <a:noAutofit/>
          </a:bodyPr>
          <a:lstStyle/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en-GB" sz="2800" b="1" dirty="0" smtClean="0"/>
          </a:p>
          <a:p>
            <a:pPr>
              <a:spcBef>
                <a:spcPts val="400"/>
              </a:spcBef>
            </a:pPr>
            <a:r>
              <a:rPr lang="en-GB" sz="2000" b="1" dirty="0" smtClean="0">
                <a:solidFill>
                  <a:schemeClr val="tx1"/>
                </a:solidFill>
              </a:rPr>
              <a:t>Hybrid</a:t>
            </a:r>
            <a:r>
              <a:rPr lang="cs-CZ" sz="2000" b="1" dirty="0" smtClean="0">
                <a:solidFill>
                  <a:schemeClr val="tx1"/>
                </a:solidFill>
              </a:rPr>
              <a:t>ní koncept</a:t>
            </a:r>
            <a:r>
              <a:rPr lang="en-GB" sz="2000" b="1" dirty="0" smtClean="0">
                <a:solidFill>
                  <a:schemeClr val="tx1"/>
                </a:solidFill>
              </a:rPr>
              <a:t> </a:t>
            </a:r>
            <a:r>
              <a:rPr lang="en-GB" sz="2000" dirty="0" smtClean="0">
                <a:solidFill>
                  <a:schemeClr val="tx1"/>
                </a:solidFill>
              </a:rPr>
              <a:t>: </a:t>
            </a:r>
            <a:r>
              <a:rPr lang="cs-CZ" sz="2000" b="1" dirty="0" smtClean="0">
                <a:solidFill>
                  <a:schemeClr val="tx2"/>
                </a:solidFill>
              </a:rPr>
              <a:t>analýza diagnostickými proužky a  vyšetření močového sedimentu </a:t>
            </a:r>
            <a:r>
              <a:rPr lang="cs-CZ" sz="2000" dirty="0" smtClean="0">
                <a:solidFill>
                  <a:schemeClr val="tx1"/>
                </a:solidFill>
              </a:rPr>
              <a:t>v jedné skříni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err="1" smtClean="0">
                <a:solidFill>
                  <a:schemeClr val="tx1"/>
                </a:solidFill>
              </a:rPr>
              <a:t>Zakoncentrování</a:t>
            </a:r>
            <a:r>
              <a:rPr lang="cs-CZ" sz="2000" b="1" dirty="0" smtClean="0">
                <a:solidFill>
                  <a:schemeClr val="tx1"/>
                </a:solidFill>
              </a:rPr>
              <a:t> moče a tvorba sedimentu bez centrifugace </a:t>
            </a: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Určování částic </a:t>
            </a:r>
            <a:r>
              <a:rPr lang="cs-CZ" sz="2000" dirty="0" smtClean="0">
                <a:solidFill>
                  <a:schemeClr val="tx1"/>
                </a:solidFill>
              </a:rPr>
              <a:t>v sedimentu s využitím softwaru</a:t>
            </a:r>
            <a:r>
              <a:rPr lang="cs-CZ" sz="2000" b="1" dirty="0" smtClean="0">
                <a:solidFill>
                  <a:schemeClr val="tx1"/>
                </a:solidFill>
              </a:rPr>
              <a:t> s umělou inteligencí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Automatické turbidimetrické měření fyzikálních parametrů </a:t>
            </a:r>
            <a:r>
              <a:rPr lang="en-GB" sz="2000" dirty="0" smtClean="0">
                <a:solidFill>
                  <a:schemeClr val="tx1"/>
                </a:solidFill>
              </a:rPr>
              <a:t>(</a:t>
            </a:r>
            <a:r>
              <a:rPr lang="cs-CZ" sz="2000" dirty="0" smtClean="0">
                <a:solidFill>
                  <a:schemeClr val="tx1"/>
                </a:solidFill>
              </a:rPr>
              <a:t>barva a zákal moče</a:t>
            </a:r>
            <a:r>
              <a:rPr lang="en-GB" sz="2000" dirty="0" smtClean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7" name="Picture 4" descr="Laura_XL_Def5883_mo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47664" y="908720"/>
            <a:ext cx="5904656" cy="3114706"/>
          </a:xfrm>
          <a:prstGeom prst="rect">
            <a:avLst/>
          </a:prstGeom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725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97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7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Zástupný symbol pro obsah 10"/>
          <p:cNvSpPr>
            <a:spLocks noGrp="1"/>
          </p:cNvSpPr>
          <p:nvPr>
            <p:ph idx="1"/>
          </p:nvPr>
        </p:nvSpPr>
        <p:spPr>
          <a:xfrm>
            <a:off x="250825" y="1484784"/>
            <a:ext cx="8713663" cy="4949250"/>
          </a:xfrm>
        </p:spPr>
        <p:txBody>
          <a:bodyPr>
            <a:normAutofit/>
          </a:bodyPr>
          <a:lstStyle/>
          <a:p>
            <a:pPr marL="0" indent="0">
              <a:spcBef>
                <a:spcPts val="300"/>
              </a:spcBef>
              <a:buNone/>
            </a:pPr>
            <a:endParaRPr lang="cs-CZ" sz="800" dirty="0" smtClean="0">
              <a:latin typeface="Calibri" panose="020F05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ěřící módy</a:t>
            </a: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: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Hybrid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(1</a:t>
            </a:r>
            <a:r>
              <a:rPr lang="cs-CZ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0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0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vzorků/hod.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Chemie (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0 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Sediment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180 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GB" sz="200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Identifi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k</a:t>
            </a:r>
            <a:r>
              <a:rPr lang="en-GB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</a:t>
            </a:r>
            <a:r>
              <a:rPr lang="cs-CZ" sz="2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e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ho materiálu - RFID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nalýza sedimentu –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sedimentace s využitím gravitace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(5 min.)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                                       14 kyvet vedle sebe současně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inimální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2,0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spirovaný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0,8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chemie: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d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voda, diagnostické proužky </a:t>
            </a:r>
          </a:p>
          <a:p>
            <a:pPr>
              <a:spcBef>
                <a:spcPts val="300"/>
              </a:spcBef>
            </a:pP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ediment: </a:t>
            </a:r>
            <a:r>
              <a:rPr lang="en-GB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d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 voda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roztok 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pti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sol XL</a:t>
            </a:r>
            <a:endParaRPr lang="en-GB" sz="20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 smtClean="0">
                <a:solidFill>
                  <a:schemeClr val="tx2"/>
                </a:solidFill>
              </a:rPr>
              <a:t>LAURA </a:t>
            </a:r>
            <a:r>
              <a:rPr lang="cs-CZ" b="1" dirty="0" smtClean="0">
                <a:solidFill>
                  <a:schemeClr val="tx2"/>
                </a:solidFill>
              </a:rPr>
              <a:t>XL</a:t>
            </a:r>
            <a:endParaRPr lang="en-GB" b="1" dirty="0">
              <a:solidFill>
                <a:schemeClr val="tx2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3" y="7286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27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 noChangeArrowheads="1"/>
          </p:cNvSpPr>
          <p:nvPr/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AU" sz="140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364" name="Rectangle 5"/>
          <p:cNvSpPr>
            <a:spLocks noChangeArrowheads="1"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ts val="700"/>
              </a:spcBef>
              <a:buClr>
                <a:srgbClr val="0000CC"/>
              </a:buClr>
              <a:buFont typeface="FuturaSCTCEBoo" pitchFamily="2" charset="0"/>
              <a:buNone/>
            </a:pPr>
            <a:endParaRPr lang="cs-CZ" sz="1600" b="1">
              <a:solidFill>
                <a:srgbClr val="0000CC"/>
              </a:solidFill>
            </a:endParaRPr>
          </a:p>
        </p:txBody>
      </p:sp>
      <p:sp>
        <p:nvSpPr>
          <p:cNvPr id="15365" name="Rectangle 12"/>
          <p:cNvSpPr>
            <a:spLocks noChangeArrowheads="1"/>
          </p:cNvSpPr>
          <p:nvPr/>
        </p:nvSpPr>
        <p:spPr bwMode="auto">
          <a:xfrm>
            <a:off x="251521" y="1114520"/>
            <a:ext cx="8640959" cy="348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38138" indent="-338138"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en-GB" sz="800" b="1" dirty="0">
              <a:solidFill>
                <a:srgbClr val="006600"/>
              </a:solidFill>
              <a:latin typeface="Calibri" panose="020F050202020403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cs-CZ" b="1" dirty="0" smtClean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Měřící princip</a:t>
            </a:r>
            <a:r>
              <a:rPr lang="en-GB" b="1" dirty="0" smtClean="0">
                <a:latin typeface="Century Gothic" panose="020B0502020202020204" pitchFamily="34" charset="0"/>
              </a:rPr>
              <a:t>: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igitální 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icros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k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p</a:t>
            </a:r>
            <a:r>
              <a:rPr lang="cs-CZ" b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ie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cs-CZ" b="1" dirty="0">
                <a:latin typeface="Century Gothic" panose="020B0502020202020204" pitchFamily="34" charset="0"/>
              </a:rPr>
              <a:t>– </a:t>
            </a:r>
            <a:r>
              <a:rPr lang="cs-CZ" b="1" dirty="0" smtClean="0">
                <a:latin typeface="Century Gothic" panose="020B0502020202020204" pitchFamily="34" charset="0"/>
              </a:rPr>
              <a:t>automatizovaná světelná mikroskopie </a:t>
            </a: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>
                <a:latin typeface="Century Gothic" panose="020B0502020202020204" pitchFamily="34" charset="0"/>
              </a:rPr>
              <a:t>15 </a:t>
            </a:r>
            <a:r>
              <a:rPr lang="cs-CZ" b="1" dirty="0" smtClean="0">
                <a:latin typeface="Century Gothic" panose="020B0502020202020204" pitchFamily="34" charset="0"/>
              </a:rPr>
              <a:t>obrázků/vzorek, celé pole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r>
              <a:rPr lang="cs-CZ" b="1" dirty="0" smtClean="0">
                <a:latin typeface="Century Gothic" panose="020B0502020202020204" pitchFamily="34" charset="0"/>
              </a:rPr>
              <a:t> 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Sofistikovaný software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Zobrazení elementů podobné jako pod světelným mikroskopem</a:t>
            </a:r>
            <a:endParaRPr lang="en-GB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Automatické vyhodnocení + možnost manuálního přeřazení uživatelem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solidFill>
                  <a:schemeClr val="tx2"/>
                </a:solidFill>
                <a:latin typeface="Century Gothic" panose="020B0502020202020204" pitchFamily="34" charset="0"/>
              </a:rPr>
              <a:t>16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utomatických/16 manuálních kategorií</a:t>
            </a:r>
            <a:endParaRPr lang="cs-CZ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err="1" smtClean="0">
                <a:latin typeface="Century Gothic" panose="020B0502020202020204" pitchFamily="34" charset="0"/>
              </a:rPr>
              <a:t>Zakoncentrování</a:t>
            </a:r>
            <a:r>
              <a:rPr lang="cs-CZ" b="1" dirty="0" smtClean="0">
                <a:latin typeface="Century Gothic" panose="020B0502020202020204" pitchFamily="34" charset="0"/>
              </a:rPr>
              <a:t> moče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bez centrifugace</a:t>
            </a:r>
            <a:endParaRPr lang="en-GB" b="1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 smtClean="0">
                <a:latin typeface="Century Gothic" panose="020B0502020202020204" pitchFamily="34" charset="0"/>
              </a:rPr>
              <a:t>centrifugace může vést k degradaci elementů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endParaRPr lang="cs-CZ" b="1" dirty="0" smtClean="0">
              <a:latin typeface="Century Gothic" panose="020B0502020202020204" pitchFamily="34" charset="0"/>
            </a:endParaRPr>
          </a:p>
        </p:txBody>
      </p:sp>
      <p:pic>
        <p:nvPicPr>
          <p:cNvPr id="15371" name="Picture 2"/>
          <p:cNvPicPr>
            <a:picLocks noChangeAspect="1" noChangeArrowheads="1"/>
          </p:cNvPicPr>
          <p:nvPr/>
        </p:nvPicPr>
        <p:blipFill>
          <a:blip r:embed="rId3" cstate="print"/>
          <a:srcRect l="25731" t="25220" r="52686" b="34422"/>
          <a:stretch>
            <a:fillRect/>
          </a:stretch>
        </p:blipFill>
        <p:spPr bwMode="auto">
          <a:xfrm>
            <a:off x="6019800" y="4598551"/>
            <a:ext cx="2016224" cy="206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Nadpis 10"/>
          <p:cNvSpPr txBox="1">
            <a:spLocks/>
          </p:cNvSpPr>
          <p:nvPr/>
        </p:nvSpPr>
        <p:spPr>
          <a:xfrm>
            <a:off x="457200" y="411162"/>
            <a:ext cx="8229600" cy="128964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 – analýza sedimentu 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479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09331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5" y="764198"/>
            <a:ext cx="8569887" cy="6093802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buNone/>
            </a:pPr>
            <a:r>
              <a:rPr lang="cs-CZ" sz="2200" b="1" dirty="0" smtClean="0">
                <a:solidFill>
                  <a:schemeClr val="tx1"/>
                </a:solidFill>
              </a:rPr>
              <a:t>Močový sediment</a:t>
            </a:r>
            <a:r>
              <a:rPr lang="en-GB" sz="2200" b="1" dirty="0" smtClean="0">
                <a:solidFill>
                  <a:schemeClr val="tx1"/>
                </a:solidFill>
              </a:rPr>
              <a:t>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1900" b="1" dirty="0" smtClean="0">
                <a:solidFill>
                  <a:schemeClr val="tx2"/>
                </a:solidFill>
              </a:rPr>
              <a:t>       Automatické rozlišení následujících kategorií</a:t>
            </a:r>
            <a:r>
              <a:rPr lang="en-GB" sz="1900" b="1" dirty="0" smtClean="0">
                <a:solidFill>
                  <a:schemeClr val="tx2"/>
                </a:solidFill>
              </a:rPr>
              <a:t>: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2100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Leuk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Shluky leukocytů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Erytr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Dlaždicov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Jin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yalinní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Patologické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Oxalát vápenatý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Tripel fosfát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Kyselina močová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Bakterie - tyč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Ba</a:t>
            </a:r>
            <a:r>
              <a:rPr lang="cs-CZ" sz="1800" b="1" dirty="0" smtClean="0">
                <a:solidFill>
                  <a:schemeClr val="tx1"/>
                </a:solidFill>
              </a:rPr>
              <a:t>k</a:t>
            </a:r>
            <a:r>
              <a:rPr lang="en-GB" sz="1800" b="1" dirty="0" err="1" smtClean="0">
                <a:solidFill>
                  <a:schemeClr val="tx1"/>
                </a:solidFill>
              </a:rPr>
              <a:t>teri</a:t>
            </a:r>
            <a:r>
              <a:rPr lang="cs-CZ" sz="1800" b="1" dirty="0" smtClean="0">
                <a:solidFill>
                  <a:schemeClr val="tx1"/>
                </a:solidFill>
              </a:rPr>
              <a:t>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– ko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Kvasin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len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Sperm</a:t>
            </a:r>
            <a:r>
              <a:rPr lang="cs-CZ" sz="1800" b="1" dirty="0" err="1" smtClean="0">
                <a:solidFill>
                  <a:schemeClr val="tx1"/>
                </a:solidFill>
              </a:rPr>
              <a:t>i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Neklasifikované buňky</a:t>
            </a:r>
          </a:p>
          <a:p>
            <a:pPr marL="914400" lvl="2" indent="0">
              <a:spcBef>
                <a:spcPts val="0"/>
              </a:spcBef>
              <a:buSzPct val="75000"/>
              <a:buNone/>
            </a:pPr>
            <a:endParaRPr lang="cs-CZ" sz="1800" dirty="0" smtClean="0">
              <a:solidFill>
                <a:schemeClr val="tx1"/>
              </a:solidFill>
            </a:endParaRPr>
          </a:p>
          <a:p>
            <a:pPr marL="914400" lvl="2" indent="0">
              <a:spcBef>
                <a:spcPts val="0"/>
              </a:spcBef>
              <a:buSzPct val="75000"/>
              <a:buNone/>
            </a:pPr>
            <a:r>
              <a:rPr lang="cs-CZ" sz="1800" dirty="0" smtClean="0">
                <a:solidFill>
                  <a:schemeClr val="tx1"/>
                </a:solidFill>
              </a:rPr>
              <a:t>Do dalších připravených kategorií možno přeřadit částice manuálně</a:t>
            </a:r>
            <a:endParaRPr lang="cs-CZ" sz="1800" dirty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endParaRPr lang="cs-CZ" sz="1800" dirty="0"/>
          </a:p>
          <a:p>
            <a:pPr marL="0" lvl="2" indent="0">
              <a:spcBef>
                <a:spcPts val="0"/>
              </a:spcBef>
              <a:buSzPct val="75000"/>
              <a:buNone/>
            </a:pPr>
            <a:endParaRPr lang="cs-CZ" sz="1100" dirty="0" smtClean="0"/>
          </a:p>
        </p:txBody>
      </p:sp>
      <p:sp>
        <p:nvSpPr>
          <p:cNvPr id="14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4153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660" y="4462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899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083" y="1528396"/>
            <a:ext cx="8327835" cy="477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>
                <a:solidFill>
                  <a:schemeClr val="tx2"/>
                </a:solidFill>
                <a:latin typeface="+mn-lt"/>
              </a:rPr>
              <a:t>XL – </a:t>
            </a:r>
            <a:r>
              <a:rPr lang="cs-CZ" sz="2000" b="1" dirty="0">
                <a:solidFill>
                  <a:schemeClr val="tx2"/>
                </a:solidFill>
                <a:latin typeface="+mn-lt"/>
              </a:rPr>
              <a:t>jednotlivé částice </a:t>
            </a:r>
            <a:r>
              <a:rPr lang="cs-CZ" sz="2000" b="1" dirty="0" smtClean="0">
                <a:solidFill>
                  <a:schemeClr val="tx2"/>
                </a:solidFill>
                <a:latin typeface="+mn-lt"/>
              </a:rPr>
              <a:t>(ZOOM)</a:t>
            </a:r>
            <a:endParaRPr lang="en-GB" sz="20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3" y="109777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040" y="6373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93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1438"/>
            <a:ext cx="8229600" cy="1125537"/>
          </a:xfrm>
        </p:spPr>
        <p:txBody>
          <a:bodyPr/>
          <a:lstStyle/>
          <a:p>
            <a:pPr eaLnBrk="1" hangingPunct="1"/>
            <a:r>
              <a:rPr lang="cs-CZ" altLang="cs-CZ" sz="3600" b="1" smtClean="0"/>
              <a:t>Chemická analýza moč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None/>
              <a:defRPr/>
            </a:pPr>
            <a:r>
              <a:rPr lang="cs-CZ" altLang="cs-CZ" b="1" dirty="0" smtClean="0"/>
              <a:t>Příklady analyzátorů</a:t>
            </a:r>
          </a:p>
          <a:p>
            <a:pPr eaLnBrk="1" hangingPunct="1">
              <a:defRPr/>
            </a:pPr>
            <a:r>
              <a:rPr lang="cs-CZ" altLang="cs-CZ" sz="2000" b="1" dirty="0" smtClean="0"/>
              <a:t>menší - často poloautomaty: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18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                                                             </a:t>
            </a:r>
          </a:p>
          <a:p>
            <a:pPr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JET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  <a:p>
            <a:pPr marL="0" indent="0"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Clinitek</a:t>
            </a:r>
            <a:r>
              <a:rPr lang="cs-CZ" altLang="cs-CZ" sz="2000" b="1" dirty="0" smtClean="0"/>
              <a:t> STATUS (Siemens)</a:t>
            </a:r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>
              <a:defRPr/>
            </a:pPr>
            <a:r>
              <a:rPr lang="cs-CZ" altLang="cs-CZ" sz="2000" b="1" dirty="0" smtClean="0"/>
              <a:t>vysokokapacitní :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24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Max AX -4030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</p:txBody>
      </p:sp>
      <p:pic>
        <p:nvPicPr>
          <p:cNvPr id="59396" name="Picture 2" descr="C:\Users\Mirka\Documents\Nová složka\imag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2852738"/>
            <a:ext cx="24003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9366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0"/>
          <p:cNvSpPr txBox="1">
            <a:spLocks/>
          </p:cNvSpPr>
          <p:nvPr/>
        </p:nvSpPr>
        <p:spPr>
          <a:xfrm>
            <a:off x="457200" y="0"/>
            <a:ext cx="8229600" cy="83671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</a:rPr>
              <a:t>LAURA </a:t>
            </a:r>
            <a:r>
              <a:rPr lang="cs-CZ" sz="3600" b="1" dirty="0">
                <a:solidFill>
                  <a:schemeClr val="tx2"/>
                </a:solidFill>
              </a:rPr>
              <a:t>XL</a:t>
            </a:r>
            <a:endParaRPr lang="en-GB" sz="3600" b="1" dirty="0">
              <a:solidFill>
                <a:schemeClr val="tx2"/>
              </a:solidFill>
            </a:endParaRPr>
          </a:p>
        </p:txBody>
      </p:sp>
      <p:grpSp>
        <p:nvGrpSpPr>
          <p:cNvPr id="5" name="Skupina 4"/>
          <p:cNvGrpSpPr/>
          <p:nvPr/>
        </p:nvGrpSpPr>
        <p:grpSpPr>
          <a:xfrm>
            <a:off x="457201" y="692696"/>
            <a:ext cx="8135814" cy="6165304"/>
            <a:chOff x="958645" y="1000174"/>
            <a:chExt cx="7202709" cy="5395136"/>
          </a:xfrm>
        </p:grpSpPr>
        <p:pic>
          <p:nvPicPr>
            <p:cNvPr id="23" name="Obrázek 5" descr="bunecny_valec.jp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58646" y="1000174"/>
              <a:ext cx="3605206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" name="TextovéPole 2"/>
            <p:cNvSpPr txBox="1"/>
            <p:nvPr/>
          </p:nvSpPr>
          <p:spPr>
            <a:xfrm>
              <a:off x="1056527" y="1122189"/>
              <a:ext cx="12112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Gran CAST</a:t>
              </a:r>
              <a:endParaRPr lang="cs-CZ" b="1" dirty="0"/>
            </a:p>
          </p:txBody>
        </p:sp>
        <p:pic>
          <p:nvPicPr>
            <p:cNvPr id="24" name="Obrázek 5" descr="hlen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63853" y="1000174"/>
              <a:ext cx="3597501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ovéPole 15"/>
            <p:cNvSpPr txBox="1"/>
            <p:nvPr/>
          </p:nvSpPr>
          <p:spPr>
            <a:xfrm>
              <a:off x="4670970" y="1127294"/>
              <a:ext cx="6939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MUC</a:t>
              </a:r>
              <a:endParaRPr lang="cs-CZ" b="1" dirty="0"/>
            </a:p>
          </p:txBody>
        </p:sp>
        <p:pic>
          <p:nvPicPr>
            <p:cNvPr id="25" name="Obrázek 5" descr="ROD.jp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58645" y="3708118"/>
              <a:ext cx="3606170" cy="2687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ovéPole 16"/>
            <p:cNvSpPr txBox="1"/>
            <p:nvPr/>
          </p:nvSpPr>
          <p:spPr>
            <a:xfrm>
              <a:off x="1069731" y="3897421"/>
              <a:ext cx="9231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BACR</a:t>
              </a:r>
              <a:endParaRPr lang="cs-CZ" b="1" dirty="0"/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562125" y="3692831"/>
              <a:ext cx="3599229" cy="27024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ovéPole 17"/>
            <p:cNvSpPr txBox="1"/>
            <p:nvPr/>
          </p:nvSpPr>
          <p:spPr>
            <a:xfrm>
              <a:off x="4670970" y="3897421"/>
              <a:ext cx="14156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YST</a:t>
              </a:r>
              <a:endParaRPr lang="cs-CZ" b="1" dirty="0"/>
            </a:p>
          </p:txBody>
        </p:sp>
      </p:grpSp>
      <p:pic>
        <p:nvPicPr>
          <p:cNvPr id="12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8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VE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890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6099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ýhody a nevýhody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137323"/>
          </a:xfrm>
        </p:spPr>
        <p:txBody>
          <a:bodyPr>
            <a:normAutofit fontScale="92500"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Přístroje využívající sedimentaci a centrifugaci – </a:t>
            </a:r>
            <a:r>
              <a:rPr lang="cs-CZ" b="1" dirty="0" smtClean="0">
                <a:solidFill>
                  <a:schemeClr val="tx1"/>
                </a:solidFill>
              </a:rPr>
              <a:t>potíže s hustými vzorky </a:t>
            </a:r>
            <a:r>
              <a:rPr lang="cs-CZ" dirty="0" smtClean="0">
                <a:solidFill>
                  <a:schemeClr val="tx1"/>
                </a:solidFill>
              </a:rPr>
              <a:t>(některé je třeba dělat pod mikroskopem, některé částice se musí označit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Velké zvětšení – </a:t>
            </a:r>
            <a:r>
              <a:rPr lang="cs-CZ" dirty="0" smtClean="0">
                <a:solidFill>
                  <a:schemeClr val="tx1"/>
                </a:solidFill>
              </a:rPr>
              <a:t>pěkně vidět </a:t>
            </a:r>
            <a:r>
              <a:rPr lang="cs-CZ" b="1" dirty="0" smtClean="0">
                <a:solidFill>
                  <a:schemeClr val="tx1"/>
                </a:solidFill>
              </a:rPr>
              <a:t>(Laura, </a:t>
            </a:r>
            <a:r>
              <a:rPr lang="cs-CZ" b="1" dirty="0" err="1">
                <a:solidFill>
                  <a:schemeClr val="tx1"/>
                </a:solidFill>
              </a:rPr>
              <a:t>A</a:t>
            </a:r>
            <a:r>
              <a:rPr lang="cs-CZ" b="1" dirty="0" err="1" smtClean="0">
                <a:solidFill>
                  <a:schemeClr val="tx1"/>
                </a:solidFill>
              </a:rPr>
              <a:t>tellica</a:t>
            </a:r>
            <a:r>
              <a:rPr lang="cs-CZ" b="1" dirty="0" smtClean="0">
                <a:solidFill>
                  <a:schemeClr val="tx1"/>
                </a:solidFill>
              </a:rPr>
              <a:t>, </a:t>
            </a:r>
            <a:r>
              <a:rPr lang="cs-CZ" b="1" dirty="0" err="1" smtClean="0">
                <a:solidFill>
                  <a:schemeClr val="tx1"/>
                </a:solidFill>
              </a:rPr>
              <a:t>cobas</a:t>
            </a:r>
            <a:r>
              <a:rPr lang="cs-CZ" b="1" dirty="0" smtClean="0">
                <a:solidFill>
                  <a:schemeClr val="tx1"/>
                </a:solidFill>
              </a:rPr>
              <a:t>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Rychlost prvního vzorku </a:t>
            </a:r>
            <a:r>
              <a:rPr lang="cs-CZ" dirty="0" smtClean="0">
                <a:solidFill>
                  <a:schemeClr val="tx1"/>
                </a:solidFill>
              </a:rPr>
              <a:t>– výhodné pro jednotlivé </a:t>
            </a:r>
            <a:r>
              <a:rPr lang="cs-CZ" b="1" dirty="0" err="1" smtClean="0">
                <a:solidFill>
                  <a:schemeClr val="tx1"/>
                </a:solidFill>
              </a:rPr>
              <a:t>statimy</a:t>
            </a:r>
            <a:r>
              <a:rPr lang="cs-CZ" b="1" dirty="0" smtClean="0">
                <a:solidFill>
                  <a:schemeClr val="tx1"/>
                </a:solidFill>
              </a:rPr>
              <a:t> (FUS)</a:t>
            </a:r>
          </a:p>
          <a:p>
            <a:endParaRPr lang="cs-CZ" b="1" dirty="0">
              <a:solidFill>
                <a:schemeClr val="tx1"/>
              </a:solidFill>
            </a:endParaRPr>
          </a:p>
          <a:p>
            <a:r>
              <a:rPr lang="cs-CZ" dirty="0" smtClean="0">
                <a:solidFill>
                  <a:schemeClr val="tx1"/>
                </a:solidFill>
              </a:rPr>
              <a:t>Rozdíly v kvalitě a pružnosti software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81032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Nadpis 1"/>
          <p:cNvSpPr>
            <a:spLocks noGrp="1"/>
          </p:cNvSpPr>
          <p:nvPr>
            <p:ph type="title"/>
          </p:nvPr>
        </p:nvSpPr>
        <p:spPr>
          <a:xfrm>
            <a:off x="107950" y="71438"/>
            <a:ext cx="8928100" cy="1125537"/>
          </a:xfrm>
        </p:spPr>
        <p:txBody>
          <a:bodyPr/>
          <a:lstStyle/>
          <a:p>
            <a:r>
              <a:rPr lang="cs-CZ" altLang="cs-CZ" sz="3600" b="1" smtClean="0"/>
              <a:t>Automatická morfologická analýza moč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23850" y="1268413"/>
            <a:ext cx="8640763" cy="5589587"/>
          </a:xfrm>
        </p:spPr>
        <p:txBody>
          <a:bodyPr>
            <a:normAutofit fontScale="62500" lnSpcReduction="20000"/>
          </a:bodyPr>
          <a:lstStyle/>
          <a:p>
            <a:pPr marL="0" indent="0">
              <a:buFontTx/>
              <a:buNone/>
              <a:defRPr/>
            </a:pPr>
            <a:r>
              <a:rPr lang="cs-CZ" sz="3800" b="1" dirty="0" smtClean="0"/>
              <a:t>Techniky: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accent1"/>
                </a:solidFill>
              </a:rPr>
              <a:t>     </a:t>
            </a:r>
            <a:r>
              <a:rPr lang="cs-CZ" sz="3800" b="1" dirty="0" err="1" smtClean="0">
                <a:solidFill>
                  <a:schemeClr val="tx2"/>
                </a:solidFill>
              </a:rPr>
              <a:t>Flow</a:t>
            </a:r>
            <a:r>
              <a:rPr lang="cs-CZ" sz="3800" b="1" dirty="0" smtClean="0">
                <a:solidFill>
                  <a:schemeClr val="tx2"/>
                </a:solidFill>
              </a:rPr>
              <a:t> </a:t>
            </a:r>
            <a:r>
              <a:rPr lang="cs-CZ" sz="3800" b="1" dirty="0" err="1" smtClean="0">
                <a:solidFill>
                  <a:schemeClr val="tx2"/>
                </a:solidFill>
              </a:rPr>
              <a:t>cytometrie</a:t>
            </a: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tx2"/>
                </a:solidFill>
              </a:rPr>
              <a:t>     </a:t>
            </a:r>
            <a:r>
              <a:rPr lang="cs-CZ" sz="3800" b="1" dirty="0">
                <a:solidFill>
                  <a:schemeClr val="tx2"/>
                </a:solidFill>
              </a:rPr>
              <a:t>D</a:t>
            </a:r>
            <a:r>
              <a:rPr lang="cs-CZ" sz="3800" b="1" dirty="0" smtClean="0">
                <a:solidFill>
                  <a:schemeClr val="tx2"/>
                </a:solidFill>
              </a:rPr>
              <a:t>igitální zobrazení (mikroskopie) močových částic  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využívá se CCD kamera, </a:t>
            </a:r>
            <a:r>
              <a:rPr lang="cs-CZ" sz="3800" b="1" dirty="0"/>
              <a:t>mikroskopický </a:t>
            </a:r>
            <a:r>
              <a:rPr lang="cs-CZ" sz="3800" b="1" dirty="0" smtClean="0"/>
              <a:t>objektiv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  </a:t>
            </a:r>
            <a:r>
              <a:rPr lang="cs-CZ" sz="3800" b="1" dirty="0" smtClean="0">
                <a:solidFill>
                  <a:schemeClr val="tx2"/>
                </a:solidFill>
              </a:rPr>
              <a:t>- Průtoková cela, průběžné snímání,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nekoncentrovaná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- Automatická analýza močového sedimentu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centrifugací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využitím sedimentace</a:t>
            </a:r>
          </a:p>
          <a:p>
            <a:pPr marL="0" indent="0">
              <a:buFontTx/>
              <a:buNone/>
              <a:defRPr/>
            </a:pPr>
            <a:endParaRPr lang="cs-CZ" sz="19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altLang="cs-CZ" sz="4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letní systém močové </a:t>
            </a:r>
            <a:r>
              <a:rPr lang="cs-CZ" altLang="cs-CZ" sz="45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ýzy – diagnostické proužky + morfologie</a:t>
            </a:r>
            <a:endParaRPr lang="cs-CZ" sz="3000" b="1" dirty="0">
              <a:solidFill>
                <a:schemeClr val="tx2"/>
              </a:solidFill>
            </a:endParaRPr>
          </a:p>
        </p:txBody>
      </p:sp>
      <p:pic>
        <p:nvPicPr>
          <p:cNvPr id="6144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57150"/>
            <a:ext cx="6111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92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39552" y="1772816"/>
            <a:ext cx="8064896" cy="4353347"/>
          </a:xfrm>
        </p:spPr>
        <p:txBody>
          <a:bodyPr/>
          <a:lstStyle/>
          <a:p>
            <a:pPr marL="0" indent="0">
              <a:buNone/>
            </a:pPr>
            <a:r>
              <a:rPr lang="cs-CZ" dirty="0" smtClean="0"/>
              <a:t>                           </a:t>
            </a:r>
            <a:r>
              <a:rPr lang="cs-CZ" sz="3200" b="1" dirty="0" err="1" smtClean="0">
                <a:solidFill>
                  <a:schemeClr val="tx1"/>
                </a:solidFill>
              </a:rPr>
              <a:t>Flow</a:t>
            </a:r>
            <a:r>
              <a:rPr lang="cs-CZ" sz="3200" b="1" dirty="0" smtClean="0">
                <a:solidFill>
                  <a:schemeClr val="tx1"/>
                </a:solidFill>
              </a:rPr>
              <a:t> </a:t>
            </a:r>
            <a:r>
              <a:rPr lang="cs-CZ" sz="3200" b="1" dirty="0" err="1" smtClean="0">
                <a:solidFill>
                  <a:schemeClr val="tx1"/>
                </a:solidFill>
              </a:rPr>
              <a:t>cytometrie</a:t>
            </a:r>
            <a:endParaRPr lang="cs-CZ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2498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>
                <a:effectLst/>
              </a:rPr>
              <a:t>UN-</a:t>
            </a:r>
            <a:r>
              <a:rPr lang="cs-CZ" sz="3600" b="1" dirty="0" err="1" smtClean="0">
                <a:effectLst/>
              </a:rPr>
              <a:t>Series</a:t>
            </a:r>
            <a:r>
              <a:rPr lang="cs-CZ" sz="3600" b="1" dirty="0" smtClean="0">
                <a:effectLst/>
              </a:rPr>
              <a:t>, </a:t>
            </a:r>
            <a:r>
              <a:rPr lang="cs-CZ" sz="3600" b="1" dirty="0" err="1" smtClean="0">
                <a:effectLst/>
              </a:rPr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600200"/>
            <a:ext cx="8435280" cy="51411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Nově na trhu:</a:t>
            </a: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 smtClean="0"/>
              <a:t>            UN3000-111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2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     UC-3500 + UF-5000/4000 + UD-10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(Chemická analýza + </a:t>
            </a:r>
            <a:r>
              <a:rPr lang="cs-CZ" sz="1800" b="1" dirty="0" err="1" smtClean="0">
                <a:solidFill>
                  <a:schemeClr val="tx1"/>
                </a:solidFill>
              </a:rPr>
              <a:t>Flow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err="1" smtClean="0">
                <a:solidFill>
                  <a:schemeClr val="tx1"/>
                </a:solidFill>
              </a:rPr>
              <a:t>cytometrie</a:t>
            </a:r>
            <a:r>
              <a:rPr lang="cs-CZ" sz="1800" b="1" dirty="0" smtClean="0">
                <a:solidFill>
                  <a:schemeClr val="tx1"/>
                </a:solidFill>
              </a:rPr>
              <a:t> + digitální zobrazení elementů)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 Modulární koncept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601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235" y="908720"/>
            <a:ext cx="5969829" cy="3394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0048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72008"/>
            <a:ext cx="8229600" cy="1052736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cs-CZ" sz="2200" b="1" dirty="0" err="1" smtClean="0">
                <a:solidFill>
                  <a:schemeClr val="tx1"/>
                </a:solidFill>
              </a:rPr>
              <a:t>Flow</a:t>
            </a:r>
            <a:r>
              <a:rPr lang="cs-CZ" sz="2200" b="1" dirty="0" smtClean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</a:t>
            </a:r>
            <a:r>
              <a:rPr lang="cs-CZ" sz="2200" b="1" dirty="0" smtClean="0">
                <a:solidFill>
                  <a:schemeClr val="tx1"/>
                </a:solidFill>
              </a:rPr>
              <a:t> – </a:t>
            </a:r>
            <a:r>
              <a:rPr lang="cs-CZ" sz="2200" b="1" dirty="0" smtClean="0">
                <a:solidFill>
                  <a:schemeClr val="tx2"/>
                </a:solidFill>
              </a:rPr>
              <a:t>28 parametrů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2 ml moče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105/80 vzorků moče/hod.</a:t>
            </a: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200" b="1" dirty="0" err="1">
                <a:solidFill>
                  <a:schemeClr val="tx1"/>
                </a:solidFill>
              </a:rPr>
              <a:t>Flow</a:t>
            </a:r>
            <a:r>
              <a:rPr lang="cs-CZ" sz="2200" b="1" dirty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ie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Výkonný </a:t>
            </a:r>
            <a:r>
              <a:rPr lang="cs-CZ" sz="2200" b="1" dirty="0">
                <a:solidFill>
                  <a:schemeClr val="tx2"/>
                </a:solidFill>
              </a:rPr>
              <a:t>modrý </a:t>
            </a:r>
            <a:r>
              <a:rPr lang="cs-CZ" sz="2200" b="1" dirty="0" smtClean="0">
                <a:solidFill>
                  <a:schemeClr val="tx2"/>
                </a:solidFill>
              </a:rPr>
              <a:t>laser</a:t>
            </a:r>
            <a:endParaRPr lang="cs-CZ" sz="2200" b="1" dirty="0">
              <a:solidFill>
                <a:schemeClr val="tx2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Po </a:t>
            </a:r>
            <a:r>
              <a:rPr lang="cs-CZ" sz="2200" b="1" dirty="0">
                <a:solidFill>
                  <a:schemeClr val="tx1"/>
                </a:solidFill>
              </a:rPr>
              <a:t>nasátí </a:t>
            </a:r>
            <a:r>
              <a:rPr lang="cs-CZ" sz="2200" b="1" dirty="0" smtClean="0">
                <a:solidFill>
                  <a:schemeClr val="tx1"/>
                </a:solidFill>
              </a:rPr>
              <a:t>proces </a:t>
            </a:r>
            <a:r>
              <a:rPr lang="cs-CZ" sz="2200" b="1" dirty="0">
                <a:solidFill>
                  <a:schemeClr val="tx1"/>
                </a:solidFill>
              </a:rPr>
              <a:t>značení </a:t>
            </a:r>
            <a:r>
              <a:rPr lang="cs-CZ" sz="2200" b="1" dirty="0" smtClean="0">
                <a:solidFill>
                  <a:schemeClr val="tx1"/>
                </a:solidFill>
              </a:rPr>
              <a:t>fluorescenční značkou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Dva měřící kanály (buňky se značeným jádrem nebo povrchem)</a:t>
            </a:r>
            <a:endParaRPr lang="cs-CZ" sz="2200" b="1" dirty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Laserová technologie detekce částic umožňuje </a:t>
            </a:r>
            <a:r>
              <a:rPr lang="cs-CZ" sz="2200" b="1" dirty="0">
                <a:solidFill>
                  <a:schemeClr val="tx2"/>
                </a:solidFill>
              </a:rPr>
              <a:t>každý element odlišit podle specifických signálů</a:t>
            </a:r>
            <a:r>
              <a:rPr lang="cs-CZ" sz="2200" b="1" dirty="0">
                <a:solidFill>
                  <a:schemeClr val="tx1"/>
                </a:solidFill>
              </a:rPr>
              <a:t> charakterizujících velikost, </a:t>
            </a:r>
            <a:r>
              <a:rPr lang="cs-CZ" sz="2200" b="1" dirty="0" smtClean="0">
                <a:solidFill>
                  <a:schemeClr val="tx1"/>
                </a:solidFill>
              </a:rPr>
              <a:t>tvar, </a:t>
            </a:r>
            <a:r>
              <a:rPr lang="cs-CZ" sz="2200" b="1" dirty="0">
                <a:solidFill>
                  <a:schemeClr val="tx1"/>
                </a:solidFill>
              </a:rPr>
              <a:t>vnitřní </a:t>
            </a:r>
            <a:r>
              <a:rPr lang="cs-CZ" sz="2200" b="1" dirty="0" smtClean="0">
                <a:solidFill>
                  <a:schemeClr val="tx1"/>
                </a:solidFill>
              </a:rPr>
              <a:t>strukturu, polarizační vlastnosti</a:t>
            </a:r>
          </a:p>
          <a:p>
            <a:r>
              <a:rPr lang="cs-CZ" sz="2200" b="1" dirty="0" smtClean="0">
                <a:solidFill>
                  <a:schemeClr val="tx2"/>
                </a:solidFill>
              </a:rPr>
              <a:t>QC pro 5 parametrů </a:t>
            </a:r>
            <a:r>
              <a:rPr lang="cs-CZ" sz="2200" b="1" dirty="0" smtClean="0">
                <a:solidFill>
                  <a:schemeClr val="tx1"/>
                </a:solidFill>
              </a:rPr>
              <a:t>– </a:t>
            </a:r>
            <a:r>
              <a:rPr lang="cs-CZ" sz="2200" b="1" dirty="0" err="1" smtClean="0">
                <a:solidFill>
                  <a:schemeClr val="tx1"/>
                </a:solidFill>
              </a:rPr>
              <a:t>ery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leu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epitelie</a:t>
            </a:r>
            <a:r>
              <a:rPr lang="cs-CZ" sz="2200" b="1" dirty="0" smtClean="0">
                <a:solidFill>
                  <a:schemeClr val="tx1"/>
                </a:solidFill>
              </a:rPr>
              <a:t>, válce, bakterie </a:t>
            </a:r>
            <a:endParaRPr lang="cs-CZ" sz="2200" b="1" dirty="0">
              <a:solidFill>
                <a:srgbClr val="FF0000"/>
              </a:solidFill>
            </a:endParaRPr>
          </a:p>
          <a:p>
            <a:r>
              <a:rPr lang="cs-CZ" b="1" dirty="0">
                <a:solidFill>
                  <a:schemeClr val="tx1"/>
                </a:solidFill>
              </a:rPr>
              <a:t>Analýza jiných tělních tekutin – </a:t>
            </a:r>
            <a:r>
              <a:rPr lang="cs-CZ" b="1" dirty="0" err="1">
                <a:solidFill>
                  <a:schemeClr val="tx2"/>
                </a:solidFill>
              </a:rPr>
              <a:t>likvory</a:t>
            </a:r>
            <a:r>
              <a:rPr lang="cs-CZ" b="1" dirty="0">
                <a:solidFill>
                  <a:schemeClr val="tx2"/>
                </a:solidFill>
              </a:rPr>
              <a:t>, punktáty</a:t>
            </a:r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UF-5000 fully automated analyzer of formed elements in urin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4030" y="1142788"/>
            <a:ext cx="3451995" cy="23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5688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kutivní">
  <a:themeElements>
    <a:clrScheme name="Exekutivní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kutivní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kutivní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>
  <Name>Title (big bar down)</Name>
  <PpLayout>1</PpLayout>
  <Index>1</Index>
</p4ppTags>
</file>

<file path=customXml/item3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8D5861A2-F110-45DF-AD75-2C8C71AD9355}">
  <ds:schemaRefs/>
</ds:datastoreItem>
</file>

<file path=customXml/itemProps2.xml><?xml version="1.0" encoding="utf-8"?>
<ds:datastoreItem xmlns:ds="http://schemas.openxmlformats.org/officeDocument/2006/customXml" ds:itemID="{3308563B-83E2-48B7-9834-69CBDA6FBDE0}">
  <ds:schemaRefs/>
</ds:datastoreItem>
</file>

<file path=customXml/itemProps3.xml><?xml version="1.0" encoding="utf-8"?>
<ds:datastoreItem xmlns:ds="http://schemas.openxmlformats.org/officeDocument/2006/customXml" ds:itemID="{2955EDC1-E95D-440F-8092-821C1BF4E6A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6605</TotalTime>
  <Words>1670</Words>
  <Application>Microsoft Office PowerPoint</Application>
  <PresentationFormat>Předvádění na obrazovce (4:3)</PresentationFormat>
  <Paragraphs>373</Paragraphs>
  <Slides>51</Slides>
  <Notes>10</Notes>
  <HiddenSlides>0</HiddenSlides>
  <MMClips>0</MMClips>
  <ScaleCrop>false</ScaleCrop>
  <HeadingPairs>
    <vt:vector size="8" baseType="variant">
      <vt:variant>
        <vt:lpstr>Použitá písma</vt:lpstr>
      </vt:variant>
      <vt:variant>
        <vt:i4>11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1</vt:i4>
      </vt:variant>
    </vt:vector>
  </HeadingPairs>
  <TitlesOfParts>
    <vt:vector size="64" baseType="lpstr">
      <vt:lpstr>ＭＳ Ｐゴシック</vt:lpstr>
      <vt:lpstr>宋体</vt:lpstr>
      <vt:lpstr>Arial</vt:lpstr>
      <vt:lpstr>Arial Unicode MS</vt:lpstr>
      <vt:lpstr>Calibri</vt:lpstr>
      <vt:lpstr>Century Gothic</vt:lpstr>
      <vt:lpstr>Courier New</vt:lpstr>
      <vt:lpstr>FuturaSCTCEBoo</vt:lpstr>
      <vt:lpstr>Palatino Linotype</vt:lpstr>
      <vt:lpstr>Times New Roman</vt:lpstr>
      <vt:lpstr>Wingdings</vt:lpstr>
      <vt:lpstr>Exekutivní</vt:lpstr>
      <vt:lpstr>think-cell Slide</vt:lpstr>
      <vt:lpstr>Současné možnosti automatizace močové analýzy</vt:lpstr>
      <vt:lpstr>Automatizovaná analýza moče</vt:lpstr>
      <vt:lpstr>Chemická analýza moče</vt:lpstr>
      <vt:lpstr>Chemická analýza moče</vt:lpstr>
      <vt:lpstr>Chemická analýza moče</vt:lpstr>
      <vt:lpstr>Automatická morfologická analýza moče</vt:lpstr>
      <vt:lpstr>Prezentace aplikace PowerPoint</vt:lpstr>
      <vt:lpstr>UN-Series, Sysmex</vt:lpstr>
      <vt:lpstr>UF-5000/4000, Sysmex</vt:lpstr>
      <vt:lpstr>UF-5000/4000 - scattergram</vt:lpstr>
      <vt:lpstr>UD-10, Sysmex </vt:lpstr>
      <vt:lpstr>UN 3000, Sysmex</vt:lpstr>
      <vt:lpstr>UN 3000</vt:lpstr>
      <vt:lpstr>Digitální mikroskopie nekoncentrované moče  </vt:lpstr>
      <vt:lpstr>iRICELL 3000plus IQ 200 SPRINT + ichemVelocity, Beckman</vt:lpstr>
      <vt:lpstr>iRICELL 3000plus =IQ 200 SPRINT +  ichemVelocity, Beckman  </vt:lpstr>
      <vt:lpstr>Prezentace aplikace PowerPoint</vt:lpstr>
      <vt:lpstr>FUS-2000, DIRUI</vt:lpstr>
      <vt:lpstr>FUS-2000</vt:lpstr>
      <vt:lpstr>Uric acid</vt:lpstr>
      <vt:lpstr>DIRUI FUS-3000Plus</vt:lpstr>
      <vt:lpstr>DIRUI FUS-1000</vt:lpstr>
      <vt:lpstr>Simulace zorného pole</vt:lpstr>
      <vt:lpstr>ERY - akantocyty</vt:lpstr>
      <vt:lpstr>Spermie</vt:lpstr>
      <vt:lpstr>Tripelfosfáty</vt:lpstr>
      <vt:lpstr>Automatická analýza močového sedimentu – s centrifugací</vt:lpstr>
      <vt:lpstr>LabUMat2 and UriSed3 , 77 Elektronika  (dodává Biovendor)</vt:lpstr>
      <vt:lpstr>LabUMat2, 77 Elektronika dodává Biovendor</vt:lpstr>
      <vt:lpstr>Urised 3, 77 Elektronika</vt:lpstr>
      <vt:lpstr>Urised 3</vt:lpstr>
      <vt:lpstr>Urised 3</vt:lpstr>
      <vt:lpstr>Prezentace aplikace PowerPoint</vt:lpstr>
      <vt:lpstr> cobas 6500, Roche močový sediment + chem. analýza</vt:lpstr>
      <vt:lpstr>cobas 6500 - automatický systém na močovou analýzu</vt:lpstr>
      <vt:lpstr>Modul cobas u 601-analýza moči pomocí testovacích proužků  </vt:lpstr>
      <vt:lpstr>Modul cobas u 701 – automatizované mikroskopické vyšetření močového sedimentu.  </vt:lpstr>
      <vt:lpstr>cobas 6500 – image z modulu cobas u701</vt:lpstr>
      <vt:lpstr>Atellica 1500, Siemens</vt:lpstr>
      <vt:lpstr>Atellica 1500, Siemens</vt:lpstr>
      <vt:lpstr>Prezentace aplikace PowerPoint</vt:lpstr>
      <vt:lpstr> Atellica 1500, Siemens Automatická mikroskopie po centrifugaci – vychází z 77 Elektronika (100 vzorků/hod.)</vt:lpstr>
      <vt:lpstr>Automatická analýza močového sedimentu – s využitím sedimentace</vt:lpstr>
      <vt:lpstr>UD-10, Sysmex </vt:lpstr>
      <vt:lpstr>LAURA XL, Erba Lachema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ýhody a nevýhody</vt:lpstr>
    </vt:vector>
  </TitlesOfParts>
  <Company>Fakultni Nemocnice Brn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scys (Roche)</dc:title>
  <dc:creator>okbhfnb</dc:creator>
  <cp:lastModifiedBy>Gregorovičová Michaela</cp:lastModifiedBy>
  <cp:revision>354</cp:revision>
  <dcterms:created xsi:type="dcterms:W3CDTF">2006-04-01T12:34:12Z</dcterms:created>
  <dcterms:modified xsi:type="dcterms:W3CDTF">2022-05-04T06:52:30Z</dcterms:modified>
</cp:coreProperties>
</file>